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4"/>
    <p:sldMasterId id="2147483798" r:id="rId5"/>
    <p:sldMasterId id="2147483813" r:id="rId6"/>
    <p:sldMasterId id="2147483825" r:id="rId7"/>
    <p:sldMasterId id="2147483833" r:id="rId8"/>
    <p:sldMasterId id="2147483842" r:id="rId9"/>
    <p:sldMasterId id="2147483862" r:id="rId10"/>
  </p:sldMasterIdLst>
  <p:notesMasterIdLst>
    <p:notesMasterId r:id="rId23"/>
  </p:notesMasterIdLst>
  <p:handoutMasterIdLst>
    <p:handoutMasterId r:id="rId24"/>
  </p:handoutMasterIdLst>
  <p:sldIdLst>
    <p:sldId id="311" r:id="rId11"/>
    <p:sldId id="483" r:id="rId12"/>
    <p:sldId id="500" r:id="rId13"/>
    <p:sldId id="494" r:id="rId14"/>
    <p:sldId id="498" r:id="rId15"/>
    <p:sldId id="499" r:id="rId16"/>
    <p:sldId id="497" r:id="rId17"/>
    <p:sldId id="495" r:id="rId18"/>
    <p:sldId id="493" r:id="rId19"/>
    <p:sldId id="492" r:id="rId20"/>
    <p:sldId id="496" r:id="rId21"/>
    <p:sldId id="454" r:id="rId22"/>
  </p:sldIdLst>
  <p:sldSz cx="9144000" cy="5143500" type="screen16x9"/>
  <p:notesSz cx="6985000" cy="9283700"/>
  <p:custDataLst>
    <p:tags r:id="rId25"/>
  </p:custDataLst>
  <p:defaultTextStyle>
    <a:defPPr>
      <a:defRPr lang="en-GB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 userDrawn="1">
          <p15:clr>
            <a:srgbClr val="A4A3A4"/>
          </p15:clr>
        </p15:guide>
        <p15:guide id="2" pos="220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4192"/>
    <a:srgbClr val="000000"/>
    <a:srgbClr val="68717A"/>
    <a:srgbClr val="A8BB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94" autoAdjust="0"/>
    <p:restoredTop sz="86408" autoAdjust="0"/>
  </p:normalViewPr>
  <p:slideViewPr>
    <p:cSldViewPr snapToGrid="0">
      <p:cViewPr varScale="1">
        <p:scale>
          <a:sx n="71" d="100"/>
          <a:sy n="71" d="100"/>
        </p:scale>
        <p:origin x="1248" y="4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3570" y="96"/>
      </p:cViewPr>
      <p:guideLst>
        <p:guide orient="horz" pos="2924"/>
        <p:guide pos="22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551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3A1A956-FBA6-4D44-9717-88B588F88EA2}" type="datetimeFigureOut">
              <a:rPr lang="en-US"/>
              <a:pPr>
                <a:defRPr/>
              </a:pPr>
              <a:t>5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551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EB7DA75-3119-461F-BBD9-15CADFA283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5986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1" y="0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2CF6B7E-5EE0-4686-A335-20EF82FA6D28}" type="datetimeFigureOut">
              <a:rPr lang="en-US"/>
              <a:pPr>
                <a:defRPr/>
              </a:pPr>
              <a:t>5/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60" tIns="46480" rIns="92960" bIns="4648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wrap="square" lIns="92960" tIns="46480" rIns="92960" bIns="464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1" y="8817904"/>
            <a:ext cx="3026833" cy="464185"/>
          </a:xfrm>
          <a:prstGeom prst="rect">
            <a:avLst/>
          </a:prstGeom>
        </p:spPr>
        <p:txBody>
          <a:bodyPr vert="horz" lIns="92960" tIns="46480" rIns="92960" bIns="4648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6C2616F-011D-47B3-A2C1-4E16F11993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9924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>
              <a:ea typeface="ヒラギノ角ゴ Pro W3"/>
              <a:cs typeface="ヒラギノ角ゴ Pro W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F1E334-DD0D-44F1-B379-F6C65B92AF59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054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slideMaster" Target="../slideMasters/slideMaster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8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7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316987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5952636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9458060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8497819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59750275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12015872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1611313" y="4795567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86591989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2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2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417513" y="63500"/>
            <a:ext cx="71596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1400">
                <a:solidFill>
                  <a:srgbClr val="808080"/>
                </a:solidFill>
                <a:latin typeface="Nokia Pure Text Light" panose="020B0304040602060303" pitchFamily="34" charset="0"/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417513" y="555625"/>
            <a:ext cx="8229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Nokia Pure Text Light"/>
                <a:ea typeface="ＭＳ Ｐゴシック"/>
              </a:rPr>
              <a:t>Unit of measure</a:t>
            </a:r>
          </a:p>
        </p:txBody>
      </p:sp>
      <p:grpSp>
        <p:nvGrpSpPr>
          <p:cNvPr id="6" name="McK Slide Elements" hidden="1"/>
          <p:cNvGrpSpPr>
            <a:grpSpLocks/>
          </p:cNvGrpSpPr>
          <p:nvPr/>
        </p:nvGrpSpPr>
        <p:grpSpPr bwMode="auto">
          <a:xfrm>
            <a:off x="417513" y="4270375"/>
            <a:ext cx="8229600" cy="334963"/>
            <a:chOff x="417513" y="4270533"/>
            <a:chExt cx="8229600" cy="334937"/>
          </a:xfrm>
        </p:grpSpPr>
        <p:sp>
          <p:nvSpPr>
            <p:cNvPr id="7" name="McK 4. Footnote"/>
            <p:cNvSpPr txBox="1">
              <a:spLocks noChangeArrowheads="1"/>
            </p:cNvSpPr>
            <p:nvPr/>
          </p:nvSpPr>
          <p:spPr bwMode="auto">
            <a:xfrm>
              <a:off x="417513" y="4270533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7950" indent="-107950">
                <a:defRPr/>
              </a:pPr>
              <a:r>
                <a:rPr lang="en-US" sz="1000" dirty="0">
                  <a:solidFill>
                    <a:srgbClr val="124191"/>
                  </a:solidFill>
                  <a:latin typeface="Nokia Pure Text Light"/>
                  <a:ea typeface="ＭＳ Ｐゴシック"/>
                </a:rPr>
                <a:t>1 Footnote</a:t>
              </a:r>
            </a:p>
          </p:txBody>
        </p:sp>
        <p:sp>
          <p:nvSpPr>
            <p:cNvPr id="8" name="McK 5. Source"/>
            <p:cNvSpPr>
              <a:spLocks noChangeArrowheads="1"/>
            </p:cNvSpPr>
            <p:nvPr/>
          </p:nvSpPr>
          <p:spPr bwMode="auto">
            <a:xfrm>
              <a:off x="417513" y="4451494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57200" indent="-4572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sz="10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Source: Source</a:t>
              </a: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2376488" y="1398588"/>
            <a:ext cx="4391025" cy="512762"/>
            <a:chOff x="915" y="609"/>
            <a:chExt cx="2686" cy="421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b="1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Title</a:t>
              </a:r>
            </a:p>
            <a:p>
              <a:pPr>
                <a:defRPr/>
              </a:pPr>
              <a:r>
                <a:rPr lang="en-US" altLang="en-US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Unit of measure</a:t>
              </a:r>
            </a:p>
          </p:txBody>
        </p:sp>
      </p:grpSp>
      <p:pic>
        <p:nvPicPr>
          <p:cNvPr id="12" name="Picture 1"/>
          <p:cNvPicPr>
            <a:picLocks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438" y="4672013"/>
            <a:ext cx="701675" cy="1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23"/>
          <p:cNvSpPr txBox="1">
            <a:spLocks noChangeArrowheads="1"/>
          </p:cNvSpPr>
          <p:nvPr/>
        </p:nvSpPr>
        <p:spPr bwMode="auto">
          <a:xfrm>
            <a:off x="1439863" y="4692650"/>
            <a:ext cx="6078537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pt-BR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© Nokia 2017            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24"/>
          <p:cNvSpPr txBox="1">
            <a:spLocks noChangeArrowheads="1"/>
          </p:cNvSpPr>
          <p:nvPr/>
        </p:nvSpPr>
        <p:spPr bwMode="auto">
          <a:xfrm>
            <a:off x="417513" y="4837113"/>
            <a:ext cx="60785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Nokia</a:t>
            </a:r>
            <a:r>
              <a:rPr lang="en-GB" altLang="en-US" sz="800" baseline="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 internal use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7883525" y="322263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575550" y="322263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732713" y="322263"/>
            <a:ext cx="914400" cy="212725"/>
            <a:chOff x="7826359" y="285750"/>
            <a:chExt cx="914416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826359" y="285750"/>
              <a:ext cx="914416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826359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826359" y="498116"/>
              <a:ext cx="914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7816850" y="322263"/>
            <a:ext cx="830263" cy="1308100"/>
            <a:chOff x="6655594" y="273840"/>
            <a:chExt cx="830430" cy="1306516"/>
          </a:xfrm>
        </p:grpSpPr>
        <p:grpSp>
          <p:nvGrpSpPr>
            <p:cNvPr id="36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4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5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7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8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9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6976334" y="286525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6976334" y="560829"/>
              <a:ext cx="509690" cy="185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6976334" y="835134"/>
              <a:ext cx="509690" cy="1855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auto">
            <a:xfrm>
              <a:off x="6976334" y="110785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auto">
            <a:xfrm>
              <a:off x="6976334" y="138374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grpSp>
          <p:nvGrpSpPr>
            <p:cNvPr id="45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</p:grpSp>
      <p:grpSp>
        <p:nvGrpSpPr>
          <p:cNvPr id="56" name="McK Moon" hidden="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7872413" y="360363"/>
            <a:ext cx="209550" cy="209550"/>
            <a:chOff x="1600" y="1600"/>
            <a:chExt cx="160" cy="160"/>
          </a:xfrm>
        </p:grpSpPr>
        <p:sp>
          <p:nvSpPr>
            <p:cNvPr id="57" name="Oval 90"/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  <p:sp>
          <p:nvSpPr>
            <p:cNvPr id="58" name="Arc 9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</p:grpSp>
      <p:sp>
        <p:nvSpPr>
          <p:cNvPr id="59" name="TextBox 77"/>
          <p:cNvSpPr txBox="1">
            <a:spLocks noChangeArrowheads="1"/>
          </p:cNvSpPr>
          <p:nvPr userDrawn="1"/>
        </p:nvSpPr>
        <p:spPr bwMode="auto">
          <a:xfrm>
            <a:off x="417513" y="4976813"/>
            <a:ext cx="85677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80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The proposed transaction is subject to approval by Nokia’s shareholders, completion of relevant works council consultations, receipt of regulatory approvals and other customary conditions.</a:t>
            </a:r>
          </a:p>
        </p:txBody>
      </p:sp>
      <p:sp>
        <p:nvSpPr>
          <p:cNvPr id="60" name="Slide Number"/>
          <p:cNvSpPr txBox="1">
            <a:spLocks/>
          </p:cNvSpPr>
          <p:nvPr userDrawn="1"/>
        </p:nvSpPr>
        <p:spPr bwMode="auto">
          <a:xfrm>
            <a:off x="417513" y="4692650"/>
            <a:ext cx="117475" cy="12382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A0FF432-A781-4EE0-9364-1D65851F86D1}" type="slidenum">
              <a:rPr lang="en-US" sz="800" smtClean="0">
                <a:solidFill>
                  <a:srgbClr val="124191"/>
                </a:solidFill>
                <a:ea typeface="ＭＳ Ｐゴシック"/>
              </a:rPr>
              <a:pPr>
                <a:defRPr/>
              </a:pPr>
              <a:t>‹#›</a:t>
            </a:fld>
            <a:endParaRPr lang="en-US" sz="800" dirty="0">
              <a:solidFill>
                <a:srgbClr val="124191"/>
              </a:solidFill>
              <a:ea typeface="ＭＳ Ｐゴシック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1" name="Date Placeholder 3"/>
          <p:cNvSpPr>
            <a:spLocks noGrp="1"/>
          </p:cNvSpPr>
          <p:nvPr>
            <p:ph type="dt" sz="half" idx="10"/>
          </p:nvPr>
        </p:nvSpPr>
        <p:spPr>
          <a:xfrm>
            <a:off x="722313" y="4692650"/>
            <a:ext cx="512762" cy="123825"/>
          </a:xfrm>
          <a:prstGeom prst="rect">
            <a:avLst/>
          </a:prstGeom>
        </p:spPr>
        <p:txBody>
          <a:bodyPr/>
          <a:lstStyle>
            <a:lvl1pPr>
              <a:defRPr lang="en-US" sz="800"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83130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0309748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D9599-6980-4011-8D9E-61D4CF48A4F3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| </a:t>
            </a:r>
            <a:r>
              <a:rPr lang="fr-FR" altLang="zh-CN"/>
              <a:t>Presentation Title | Month 2006 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18396638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5443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815122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0394593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8307188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8489722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AM15_BBE_title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8518" cy="5143500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360566" y="288182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Nokia Pure Headline Light"/>
                <a:cs typeface="Nokia Pure Headline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788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611431" y="0"/>
            <a:ext cx="4536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2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8"/>
          <p:cNvSpPr>
            <a:spLocks noGrp="1"/>
          </p:cNvSpPr>
          <p:nvPr>
            <p:ph sz="quarter" idx="13"/>
          </p:nvPr>
        </p:nvSpPr>
        <p:spPr>
          <a:xfrm>
            <a:off x="535214" y="1070370"/>
            <a:ext cx="3719286" cy="3320201"/>
          </a:xfrm>
        </p:spPr>
        <p:txBody>
          <a:bodyPr/>
          <a:lstStyle>
            <a:lvl1pPr marL="0" indent="0">
              <a:buFont typeface="Arial"/>
              <a:buNone/>
              <a:defRPr sz="3200">
                <a:solidFill>
                  <a:srgbClr val="124191"/>
                </a:solidFill>
                <a:latin typeface="+mj-lt"/>
              </a:defRPr>
            </a:lvl1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35214" y="288178"/>
            <a:ext cx="3737429" cy="337751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361213" y="1133474"/>
            <a:ext cx="3165929" cy="32752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en-US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32000" y="4789325"/>
            <a:ext cx="6080400" cy="122400"/>
          </a:xfrm>
        </p:spPr>
        <p:txBody>
          <a:bodyPr/>
          <a:lstStyle/>
          <a:p>
            <a:pPr algn="l"/>
            <a:r>
              <a:rPr lang="en-US" noProof="0">
                <a:solidFill>
                  <a:schemeClr val="bg2"/>
                </a:solidFill>
                <a:cs typeface="Arial" charset="0"/>
              </a:rPr>
              <a:t>NGMN Conference</a:t>
            </a:r>
            <a:endParaRPr lang="en-US" noProof="0" dirty="0">
              <a:solidFill>
                <a:schemeClr val="bg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464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702606"/>
          </a:xfrm>
        </p:spPr>
        <p:txBody>
          <a:bodyPr/>
          <a:lstStyle>
            <a:lvl1pPr>
              <a:defRPr sz="6600" b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621060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7254061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6651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37" name="Rechteck 36"/>
          <p:cNvSpPr/>
          <p:nvPr userDrawn="1"/>
        </p:nvSpPr>
        <p:spPr bwMode="auto">
          <a:xfrm flipV="1">
            <a:off x="827584" y="4047914"/>
            <a:ext cx="6192341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 flipV="1">
            <a:off x="431800" y="4047914"/>
            <a:ext cx="360000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10" name="TextBox 5"/>
          <p:cNvSpPr txBox="1"/>
          <p:nvPr/>
        </p:nvSpPr>
        <p:spPr>
          <a:xfrm>
            <a:off x="633844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 rtlCol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 years</a:t>
            </a:r>
          </a:p>
        </p:txBody>
      </p:sp>
      <p:sp>
        <p:nvSpPr>
          <p:cNvPr id="11" name="Rechteck 97"/>
          <p:cNvSpPr/>
          <p:nvPr/>
        </p:nvSpPr>
        <p:spPr>
          <a:xfrm>
            <a:off x="2176871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0 M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2" name="Rechteck 97"/>
          <p:cNvSpPr/>
          <p:nvPr/>
        </p:nvSpPr>
        <p:spPr>
          <a:xfrm>
            <a:off x="4575468" y="4263913"/>
            <a:ext cx="609816" cy="144001"/>
          </a:xfrm>
          <a:prstGeom prst="rect">
            <a:avLst/>
          </a:prstGeom>
          <a:noFill/>
        </p:spPr>
        <p:txBody>
          <a:bodyPr wrap="non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-100 </a:t>
            </a: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x</a:t>
            </a:r>
          </a:p>
        </p:txBody>
      </p:sp>
      <p:sp>
        <p:nvSpPr>
          <p:cNvPr id="13" name="Rechteck 97"/>
          <p:cNvSpPr/>
          <p:nvPr/>
        </p:nvSpPr>
        <p:spPr>
          <a:xfrm>
            <a:off x="919055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,000 x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4" name="Rechteck 97"/>
          <p:cNvSpPr/>
          <p:nvPr/>
        </p:nvSpPr>
        <p:spPr>
          <a:xfrm>
            <a:off x="561836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ultra low</a:t>
            </a:r>
          </a:p>
        </p:txBody>
      </p:sp>
      <p:sp>
        <p:nvSpPr>
          <p:cNvPr id="15" name="Rechteck 97"/>
          <p:cNvSpPr/>
          <p:nvPr/>
        </p:nvSpPr>
        <p:spPr>
          <a:xfrm>
            <a:off x="1527066" y="4263913"/>
            <a:ext cx="609816" cy="144575"/>
          </a:xfrm>
          <a:prstGeom prst="rect">
            <a:avLst/>
          </a:prstGeom>
          <a:noFill/>
        </p:spPr>
        <p:txBody>
          <a:bodyPr wrap="none" lIns="0" tIns="36000" rIns="0" bIns="3600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gt;10 G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6" name="Rechteck 97"/>
          <p:cNvSpPr/>
          <p:nvPr/>
        </p:nvSpPr>
        <p:spPr>
          <a:xfrm>
            <a:off x="3314112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lt;1 m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4286535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2951820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9" name="Rad 4"/>
          <p:cNvSpPr>
            <a:spLocks noChangeAspect="1"/>
          </p:cNvSpPr>
          <p:nvPr userDrawn="1"/>
        </p:nvSpPr>
        <p:spPr>
          <a:xfrm flipH="1">
            <a:off x="3732880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20" name="Abgerundetes Rechteck 9"/>
          <p:cNvSpPr>
            <a:spLocks noChangeAspect="1"/>
          </p:cNvSpPr>
          <p:nvPr userDrawn="1"/>
        </p:nvSpPr>
        <p:spPr>
          <a:xfrm flipH="1">
            <a:off x="2849762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21" name="Abgerundetes Rechteck 4"/>
          <p:cNvSpPr>
            <a:spLocks noChangeAspect="1"/>
          </p:cNvSpPr>
          <p:nvPr userDrawn="1"/>
        </p:nvSpPr>
        <p:spPr>
          <a:xfrm>
            <a:off x="4673468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2" name="Freeform 105"/>
          <p:cNvSpPr>
            <a:spLocks/>
          </p:cNvSpPr>
          <p:nvPr userDrawn="1"/>
        </p:nvSpPr>
        <p:spPr bwMode="auto">
          <a:xfrm>
            <a:off x="3427758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3" name="Trapezoid 6"/>
          <p:cNvSpPr>
            <a:spLocks noChangeAspect="1"/>
          </p:cNvSpPr>
          <p:nvPr userDrawn="1"/>
        </p:nvSpPr>
        <p:spPr>
          <a:xfrm>
            <a:off x="4990601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4" name="Ellipse 6"/>
          <p:cNvSpPr>
            <a:spLocks noChangeAspect="1"/>
          </p:cNvSpPr>
          <p:nvPr userDrawn="1"/>
        </p:nvSpPr>
        <p:spPr>
          <a:xfrm>
            <a:off x="5543903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5" name="Abgerundetes Rechteck 19"/>
          <p:cNvSpPr>
            <a:spLocks noChangeAspect="1"/>
          </p:cNvSpPr>
          <p:nvPr userDrawn="1"/>
        </p:nvSpPr>
        <p:spPr>
          <a:xfrm>
            <a:off x="5858991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6" name="Abgerundetes Rechteck 19"/>
          <p:cNvSpPr>
            <a:spLocks noChangeAspect="1"/>
          </p:cNvSpPr>
          <p:nvPr userDrawn="1"/>
        </p:nvSpPr>
        <p:spPr>
          <a:xfrm>
            <a:off x="4127567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7" name="Rad 444"/>
          <p:cNvSpPr/>
          <p:nvPr userDrawn="1"/>
        </p:nvSpPr>
        <p:spPr>
          <a:xfrm>
            <a:off x="1721882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8" name="Freeform 3011"/>
          <p:cNvSpPr>
            <a:spLocks noChangeAspect="1"/>
          </p:cNvSpPr>
          <p:nvPr userDrawn="1"/>
        </p:nvSpPr>
        <p:spPr bwMode="auto">
          <a:xfrm>
            <a:off x="6199420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29" name="Rechteck 15"/>
          <p:cNvSpPr>
            <a:spLocks noChangeAspect="1"/>
          </p:cNvSpPr>
          <p:nvPr userDrawn="1"/>
        </p:nvSpPr>
        <p:spPr>
          <a:xfrm>
            <a:off x="1151620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30" name="Abgerundetes Rechteck 20"/>
          <p:cNvSpPr>
            <a:spLocks noChangeAspect="1"/>
          </p:cNvSpPr>
          <p:nvPr userDrawn="1"/>
        </p:nvSpPr>
        <p:spPr>
          <a:xfrm>
            <a:off x="2441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33" name="Freeform 8">
            <a:hlinkClick r:id="" action="ppaction://noaction"/>
          </p:cNvPr>
          <p:cNvSpPr>
            <a:spLocks/>
          </p:cNvSpPr>
          <p:nvPr userDrawn="1"/>
        </p:nvSpPr>
        <p:spPr bwMode="auto">
          <a:xfrm>
            <a:off x="456719" y="4101914"/>
            <a:ext cx="310162" cy="252000"/>
          </a:xfrm>
          <a:custGeom>
            <a:avLst/>
            <a:gdLst/>
            <a:ahLst/>
            <a:cxnLst/>
            <a:rect l="l" t="t" r="r" b="b"/>
            <a:pathLst>
              <a:path w="310162" h="252000">
                <a:moveTo>
                  <a:pt x="226760" y="137340"/>
                </a:moveTo>
                <a:cubicBezTo>
                  <a:pt x="234168" y="136229"/>
                  <a:pt x="242006" y="139315"/>
                  <a:pt x="246396" y="146009"/>
                </a:cubicBezTo>
                <a:cubicBezTo>
                  <a:pt x="246400" y="146014"/>
                  <a:pt x="246879" y="146725"/>
                  <a:pt x="307431" y="236380"/>
                </a:cubicBezTo>
                <a:cubicBezTo>
                  <a:pt x="313284" y="245027"/>
                  <a:pt x="309382" y="252000"/>
                  <a:pt x="299070" y="252000"/>
                </a:cubicBezTo>
                <a:cubicBezTo>
                  <a:pt x="299063" y="252000"/>
                  <a:pt x="298104" y="252000"/>
                  <a:pt x="176442" y="252000"/>
                </a:cubicBezTo>
                <a:cubicBezTo>
                  <a:pt x="166130" y="252000"/>
                  <a:pt x="157490" y="243354"/>
                  <a:pt x="157490" y="233033"/>
                </a:cubicBezTo>
                <a:cubicBezTo>
                  <a:pt x="157490" y="233028"/>
                  <a:pt x="157490" y="232671"/>
                  <a:pt x="157490" y="210192"/>
                </a:cubicBezTo>
                <a:cubicBezTo>
                  <a:pt x="183338" y="209081"/>
                  <a:pt x="203890" y="187717"/>
                  <a:pt x="203890" y="161551"/>
                </a:cubicBezTo>
                <a:cubicBezTo>
                  <a:pt x="203890" y="157686"/>
                  <a:pt x="203441" y="153926"/>
                  <a:pt x="202477" y="150346"/>
                </a:cubicBezTo>
                <a:lnTo>
                  <a:pt x="219640" y="139872"/>
                </a:lnTo>
                <a:cubicBezTo>
                  <a:pt x="221870" y="138548"/>
                  <a:pt x="224291" y="137711"/>
                  <a:pt x="226760" y="137340"/>
                </a:cubicBezTo>
                <a:close/>
                <a:moveTo>
                  <a:pt x="83121" y="137340"/>
                </a:moveTo>
                <a:cubicBezTo>
                  <a:pt x="85590" y="137711"/>
                  <a:pt x="88011" y="138548"/>
                  <a:pt x="90240" y="139872"/>
                </a:cubicBezTo>
                <a:cubicBezTo>
                  <a:pt x="90247" y="139876"/>
                  <a:pt x="90565" y="140068"/>
                  <a:pt x="107541" y="150327"/>
                </a:cubicBezTo>
                <a:cubicBezTo>
                  <a:pt x="106573" y="153912"/>
                  <a:pt x="106123" y="157679"/>
                  <a:pt x="106123" y="161551"/>
                </a:cubicBezTo>
                <a:cubicBezTo>
                  <a:pt x="106123" y="187100"/>
                  <a:pt x="125717" y="208071"/>
                  <a:pt x="150716" y="210009"/>
                </a:cubicBezTo>
                <a:lnTo>
                  <a:pt x="150716" y="233033"/>
                </a:lnTo>
                <a:cubicBezTo>
                  <a:pt x="150716" y="243354"/>
                  <a:pt x="142355" y="252000"/>
                  <a:pt x="131765" y="252000"/>
                </a:cubicBezTo>
                <a:cubicBezTo>
                  <a:pt x="131754" y="252000"/>
                  <a:pt x="130624" y="252000"/>
                  <a:pt x="11093" y="252000"/>
                </a:cubicBezTo>
                <a:cubicBezTo>
                  <a:pt x="781" y="252000"/>
                  <a:pt x="-3121" y="245027"/>
                  <a:pt x="2732" y="236380"/>
                </a:cubicBezTo>
                <a:cubicBezTo>
                  <a:pt x="2737" y="236372"/>
                  <a:pt x="3301" y="235533"/>
                  <a:pt x="63486" y="146009"/>
                </a:cubicBezTo>
                <a:cubicBezTo>
                  <a:pt x="67876" y="139315"/>
                  <a:pt x="75714" y="136229"/>
                  <a:pt x="83121" y="137340"/>
                </a:cubicBezTo>
                <a:close/>
                <a:moveTo>
                  <a:pt x="154867" y="0"/>
                </a:moveTo>
                <a:cubicBezTo>
                  <a:pt x="158700" y="0"/>
                  <a:pt x="162532" y="2534"/>
                  <a:pt x="165459" y="7602"/>
                </a:cubicBezTo>
                <a:cubicBezTo>
                  <a:pt x="165463" y="7610"/>
                  <a:pt x="165987" y="8521"/>
                  <a:pt x="221481" y="105034"/>
                </a:cubicBezTo>
                <a:cubicBezTo>
                  <a:pt x="227334" y="115169"/>
                  <a:pt x="224826" y="128575"/>
                  <a:pt x="215907" y="134787"/>
                </a:cubicBezTo>
                <a:cubicBezTo>
                  <a:pt x="215897" y="134794"/>
                  <a:pt x="215533" y="135053"/>
                  <a:pt x="200950" y="145424"/>
                </a:cubicBezTo>
                <a:cubicBezTo>
                  <a:pt x="194462" y="126313"/>
                  <a:pt x="176329" y="112660"/>
                  <a:pt x="155007" y="112660"/>
                </a:cubicBezTo>
                <a:cubicBezTo>
                  <a:pt x="133685" y="112660"/>
                  <a:pt x="115551" y="126313"/>
                  <a:pt x="109064" y="145424"/>
                </a:cubicBezTo>
                <a:lnTo>
                  <a:pt x="94107" y="134787"/>
                </a:lnTo>
                <a:cubicBezTo>
                  <a:pt x="85188" y="128575"/>
                  <a:pt x="82679" y="115169"/>
                  <a:pt x="88532" y="105034"/>
                </a:cubicBezTo>
                <a:cubicBezTo>
                  <a:pt x="88537" y="105025"/>
                  <a:pt x="89059" y="104113"/>
                  <a:pt x="144276" y="7602"/>
                </a:cubicBezTo>
                <a:cubicBezTo>
                  <a:pt x="147203" y="2534"/>
                  <a:pt x="151035" y="0"/>
                  <a:pt x="1548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  <a:prstDash val="dash"/>
          </a:ln>
          <a:effectLst/>
        </p:spPr>
        <p:txBody>
          <a:bodyPr lIns="71424" tIns="37140" rIns="71424" bIns="37140" anchor="ctr"/>
          <a:lstStyle/>
          <a:p>
            <a:pPr algn="ctr" defTabSz="604723">
              <a:lnSpc>
                <a:spcPct val="90000"/>
              </a:lnSpc>
            </a:pPr>
            <a:endParaRPr lang="en-US" sz="1300">
              <a:solidFill>
                <a:srgbClr val="BEC8D2"/>
              </a:solidFill>
              <a:latin typeface="Nokia Pure Text Light"/>
            </a:endParaRPr>
          </a:p>
        </p:txBody>
      </p:sp>
      <p:sp>
        <p:nvSpPr>
          <p:cNvPr id="35" name="Abgerundetes Rechteck 40"/>
          <p:cNvSpPr>
            <a:spLocks noChangeAspect="1"/>
          </p:cNvSpPr>
          <p:nvPr userDrawn="1"/>
        </p:nvSpPr>
        <p:spPr>
          <a:xfrm>
            <a:off x="6588224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9734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/>
          <p:cNvSpPr/>
          <p:nvPr userDrawn="1"/>
        </p:nvSpPr>
        <p:spPr bwMode="auto">
          <a:xfrm>
            <a:off x="432132" y="1167594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79" name="Rechteck 78"/>
          <p:cNvSpPr/>
          <p:nvPr userDrawn="1"/>
        </p:nvSpPr>
        <p:spPr bwMode="auto">
          <a:xfrm flipV="1">
            <a:off x="431801" y="4056380"/>
            <a:ext cx="4900776" cy="351574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2" name="Rechteck 61"/>
          <p:cNvSpPr/>
          <p:nvPr userDrawn="1"/>
        </p:nvSpPr>
        <p:spPr bwMode="auto">
          <a:xfrm rot="5400000">
            <a:off x="5193132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398" name="Rechteck 397"/>
          <p:cNvSpPr/>
          <p:nvPr userDrawn="1"/>
        </p:nvSpPr>
        <p:spPr bwMode="auto">
          <a:xfrm>
            <a:off x="432132" y="4011910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31" name="Freeform 22"/>
          <p:cNvSpPr>
            <a:spLocks noEditPoints="1"/>
          </p:cNvSpPr>
          <p:nvPr userDrawn="1"/>
        </p:nvSpPr>
        <p:spPr bwMode="auto">
          <a:xfrm>
            <a:off x="3543589" y="3394100"/>
            <a:ext cx="15574" cy="15573"/>
          </a:xfrm>
          <a:custGeom>
            <a:avLst/>
            <a:gdLst>
              <a:gd name="T0" fmla="*/ 16 w 32"/>
              <a:gd name="T1" fmla="*/ 32 h 32"/>
              <a:gd name="T2" fmla="*/ 0 w 32"/>
              <a:gd name="T3" fmla="*/ 16 h 32"/>
              <a:gd name="T4" fmla="*/ 16 w 32"/>
              <a:gd name="T5" fmla="*/ 0 h 32"/>
              <a:gd name="T6" fmla="*/ 32 w 32"/>
              <a:gd name="T7" fmla="*/ 16 h 32"/>
              <a:gd name="T8" fmla="*/ 16 w 32"/>
              <a:gd name="T9" fmla="*/ 32 h 32"/>
              <a:gd name="T10" fmla="*/ 16 w 32"/>
              <a:gd name="T11" fmla="*/ 12 h 32"/>
              <a:gd name="T12" fmla="*/ 12 w 32"/>
              <a:gd name="T13" fmla="*/ 16 h 32"/>
              <a:gd name="T14" fmla="*/ 16 w 32"/>
              <a:gd name="T15" fmla="*/ 20 h 32"/>
              <a:gd name="T16" fmla="*/ 20 w 32"/>
              <a:gd name="T17" fmla="*/ 16 h 32"/>
              <a:gd name="T18" fmla="*/ 16 w 32"/>
              <a:gd name="T19" fmla="*/ 1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  <a:moveTo>
                  <a:pt x="16" y="12"/>
                </a:moveTo>
                <a:cubicBezTo>
                  <a:pt x="13" y="12"/>
                  <a:pt x="12" y="14"/>
                  <a:pt x="12" y="16"/>
                </a:cubicBezTo>
                <a:cubicBezTo>
                  <a:pt x="12" y="18"/>
                  <a:pt x="13" y="20"/>
                  <a:pt x="16" y="20"/>
                </a:cubicBezTo>
                <a:cubicBezTo>
                  <a:pt x="18" y="20"/>
                  <a:pt x="20" y="18"/>
                  <a:pt x="20" y="16"/>
                </a:cubicBezTo>
                <a:cubicBezTo>
                  <a:pt x="20" y="14"/>
                  <a:pt x="18" y="12"/>
                  <a:pt x="1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37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5236" y="593098"/>
            <a:ext cx="8303544" cy="288000"/>
          </a:xfrm>
          <a:prstGeom prst="rect">
            <a:avLst/>
          </a:prstGeom>
        </p:spPr>
        <p:txBody>
          <a:bodyPr lIns="0" tIns="0" rIns="0" bIns="0"/>
          <a:lstStyle>
            <a:lvl1pPr marL="230188" indent="-230188">
              <a:buNone/>
              <a:defRPr lang="en-GB" sz="2000" dirty="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latinLnBrk="0">
              <a:lnSpc>
                <a:spcPct val="100000"/>
              </a:lnSpc>
              <a:buClrTx/>
              <a:buSzTx/>
              <a:tabLst/>
            </a:pPr>
            <a:r>
              <a:rPr lang="en-GB" dirty="0"/>
              <a:t>Click to edit secondary headline</a:t>
            </a:r>
          </a:p>
        </p:txBody>
      </p:sp>
      <p:grpSp>
        <p:nvGrpSpPr>
          <p:cNvPr id="377" name="Gruppieren 376"/>
          <p:cNvGrpSpPr/>
          <p:nvPr userDrawn="1"/>
        </p:nvGrpSpPr>
        <p:grpSpPr>
          <a:xfrm>
            <a:off x="765351" y="4243174"/>
            <a:ext cx="4508649" cy="180019"/>
            <a:chOff x="431800" y="4047494"/>
            <a:chExt cx="4936043" cy="180019"/>
          </a:xfrm>
          <a:noFill/>
        </p:grpSpPr>
        <p:sp>
          <p:nvSpPr>
            <p:cNvPr id="378" name="TextBox 5"/>
            <p:cNvSpPr txBox="1"/>
            <p:nvPr/>
          </p:nvSpPr>
          <p:spPr>
            <a:xfrm>
              <a:off x="470022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 rtlCol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 years</a:t>
              </a:r>
            </a:p>
          </p:txBody>
        </p:sp>
        <p:sp>
          <p:nvSpPr>
            <p:cNvPr id="379" name="Rechteck 97"/>
            <p:cNvSpPr/>
            <p:nvPr/>
          </p:nvSpPr>
          <p:spPr>
            <a:xfrm>
              <a:off x="1854606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0 M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0" name="Rechteck 97"/>
            <p:cNvSpPr/>
            <p:nvPr/>
          </p:nvSpPr>
          <p:spPr>
            <a:xfrm>
              <a:off x="3277412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-100 </a:t>
              </a: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x</a:t>
              </a:r>
            </a:p>
          </p:txBody>
        </p:sp>
        <p:sp>
          <p:nvSpPr>
            <p:cNvPr id="381" name="Rechteck 97"/>
            <p:cNvSpPr/>
            <p:nvPr/>
          </p:nvSpPr>
          <p:spPr>
            <a:xfrm>
              <a:off x="43180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,000 x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2" name="Rechteck 97"/>
            <p:cNvSpPr/>
            <p:nvPr/>
          </p:nvSpPr>
          <p:spPr>
            <a:xfrm>
              <a:off x="3988815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ultra low</a:t>
              </a:r>
            </a:p>
          </p:txBody>
        </p:sp>
        <p:sp>
          <p:nvSpPr>
            <p:cNvPr id="383" name="Rechteck 97"/>
            <p:cNvSpPr/>
            <p:nvPr/>
          </p:nvSpPr>
          <p:spPr>
            <a:xfrm>
              <a:off x="1143203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3600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gt;10 G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4" name="Rechteck 97"/>
            <p:cNvSpPr/>
            <p:nvPr/>
          </p:nvSpPr>
          <p:spPr>
            <a:xfrm>
              <a:off x="2566009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lt;1 m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385" name="Rechteck 384"/>
          <p:cNvSpPr/>
          <p:nvPr userDrawn="1"/>
        </p:nvSpPr>
        <p:spPr>
          <a:xfrm>
            <a:off x="3329864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386" name="Rechteck 385"/>
          <p:cNvSpPr/>
          <p:nvPr userDrawn="1"/>
        </p:nvSpPr>
        <p:spPr>
          <a:xfrm>
            <a:off x="2717796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40" name="Rad 4"/>
          <p:cNvSpPr>
            <a:spLocks noChangeAspect="1"/>
          </p:cNvSpPr>
          <p:nvPr userDrawn="1"/>
        </p:nvSpPr>
        <p:spPr>
          <a:xfrm flipH="1">
            <a:off x="3184646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41" name="Abgerundetes Rechteck 9"/>
          <p:cNvSpPr>
            <a:spLocks noChangeAspect="1"/>
          </p:cNvSpPr>
          <p:nvPr userDrawn="1"/>
        </p:nvSpPr>
        <p:spPr>
          <a:xfrm flipH="1">
            <a:off x="2571016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42" name="Abgerundetes Rechteck 4"/>
          <p:cNvSpPr>
            <a:spLocks noChangeAspect="1"/>
          </p:cNvSpPr>
          <p:nvPr userDrawn="1"/>
        </p:nvSpPr>
        <p:spPr>
          <a:xfrm>
            <a:off x="3929594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3" name="Freeform 105"/>
          <p:cNvSpPr>
            <a:spLocks/>
          </p:cNvSpPr>
          <p:nvPr userDrawn="1"/>
        </p:nvSpPr>
        <p:spPr bwMode="auto">
          <a:xfrm>
            <a:off x="2977344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4" name="Trapezoid 6"/>
          <p:cNvSpPr>
            <a:spLocks noChangeAspect="1"/>
          </p:cNvSpPr>
          <p:nvPr userDrawn="1"/>
        </p:nvSpPr>
        <p:spPr>
          <a:xfrm>
            <a:off x="4148905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5" name="Ellipse 6"/>
          <p:cNvSpPr>
            <a:spLocks noChangeAspect="1"/>
          </p:cNvSpPr>
          <p:nvPr userDrawn="1"/>
        </p:nvSpPr>
        <p:spPr>
          <a:xfrm>
            <a:off x="4431834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6" name="Abgerundetes Rechteck 19"/>
          <p:cNvSpPr>
            <a:spLocks noChangeAspect="1"/>
          </p:cNvSpPr>
          <p:nvPr userDrawn="1"/>
        </p:nvSpPr>
        <p:spPr>
          <a:xfrm>
            <a:off x="4592293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7" name="Abgerundetes Rechteck 19"/>
          <p:cNvSpPr>
            <a:spLocks noChangeAspect="1"/>
          </p:cNvSpPr>
          <p:nvPr userDrawn="1"/>
        </p:nvSpPr>
        <p:spPr>
          <a:xfrm>
            <a:off x="3481513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8" name="Rad 444"/>
          <p:cNvSpPr/>
          <p:nvPr userDrawn="1"/>
        </p:nvSpPr>
        <p:spPr>
          <a:xfrm>
            <a:off x="1655676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9" name="Abgerundetes Rechteck 40"/>
          <p:cNvSpPr>
            <a:spLocks noChangeAspect="1"/>
          </p:cNvSpPr>
          <p:nvPr userDrawn="1"/>
        </p:nvSpPr>
        <p:spPr>
          <a:xfrm>
            <a:off x="5012266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  <p:sp>
        <p:nvSpPr>
          <p:cNvPr id="50" name="Freeform 3011"/>
          <p:cNvSpPr>
            <a:spLocks noChangeAspect="1"/>
          </p:cNvSpPr>
          <p:nvPr userDrawn="1"/>
        </p:nvSpPr>
        <p:spPr bwMode="auto">
          <a:xfrm>
            <a:off x="4778093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51" name="Rechteck 15"/>
          <p:cNvSpPr>
            <a:spLocks noChangeAspect="1"/>
          </p:cNvSpPr>
          <p:nvPr userDrawn="1"/>
        </p:nvSpPr>
        <p:spPr>
          <a:xfrm>
            <a:off x="1000015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52" name="Abgerundetes Rechteck 20"/>
          <p:cNvSpPr>
            <a:spLocks noChangeAspect="1"/>
          </p:cNvSpPr>
          <p:nvPr userDrawn="1"/>
        </p:nvSpPr>
        <p:spPr>
          <a:xfrm>
            <a:off x="2312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55" name="Rechteck 54"/>
          <p:cNvSpPr/>
          <p:nvPr userDrawn="1"/>
        </p:nvSpPr>
        <p:spPr bwMode="auto">
          <a:xfrm>
            <a:off x="9162796" y="84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6" name="Rechteck 55"/>
          <p:cNvSpPr/>
          <p:nvPr userDrawn="1"/>
        </p:nvSpPr>
        <p:spPr bwMode="auto">
          <a:xfrm>
            <a:off x="9162796" y="255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7" name="Rechteck 56"/>
          <p:cNvSpPr/>
          <p:nvPr userDrawn="1"/>
        </p:nvSpPr>
        <p:spPr bwMode="auto">
          <a:xfrm>
            <a:off x="9162796" y="267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8" name="Rechteck 57"/>
          <p:cNvSpPr/>
          <p:nvPr userDrawn="1"/>
        </p:nvSpPr>
        <p:spPr bwMode="auto">
          <a:xfrm>
            <a:off x="9162796" y="438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9" name="Rechteck 58"/>
          <p:cNvSpPr/>
          <p:nvPr userDrawn="1"/>
        </p:nvSpPr>
        <p:spPr bwMode="auto">
          <a:xfrm rot="5400000">
            <a:off x="7083284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0" name="Rechteck 59"/>
          <p:cNvSpPr/>
          <p:nvPr userDrawn="1"/>
        </p:nvSpPr>
        <p:spPr bwMode="auto">
          <a:xfrm rot="5400000">
            <a:off x="6957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1" name="Rechteck 60"/>
          <p:cNvSpPr/>
          <p:nvPr userDrawn="1"/>
        </p:nvSpPr>
        <p:spPr bwMode="auto">
          <a:xfrm rot="5400000">
            <a:off x="5391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4" name="Rad 63"/>
          <p:cNvSpPr/>
          <p:nvPr/>
        </p:nvSpPr>
        <p:spPr>
          <a:xfrm>
            <a:off x="4877439" y="2354581"/>
            <a:ext cx="852541" cy="852541"/>
          </a:xfrm>
          <a:prstGeom prst="donut">
            <a:avLst>
              <a:gd name="adj" fmla="val 3046"/>
            </a:avLst>
          </a:prstGeom>
          <a:solidFill>
            <a:schemeClr val="accent5">
              <a:alpha val="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grpSp>
        <p:nvGrpSpPr>
          <p:cNvPr id="2" name="Gruppieren 1"/>
          <p:cNvGrpSpPr>
            <a:grpSpLocks noChangeAspect="1"/>
          </p:cNvGrpSpPr>
          <p:nvPr userDrawn="1"/>
        </p:nvGrpSpPr>
        <p:grpSpPr>
          <a:xfrm>
            <a:off x="454747" y="4113063"/>
            <a:ext cx="310163" cy="252000"/>
            <a:chOff x="3950993" y="1371507"/>
            <a:chExt cx="2707700" cy="2199942"/>
          </a:xfrm>
          <a:solidFill>
            <a:schemeClr val="accent2"/>
          </a:solidFill>
        </p:grpSpPr>
        <p:sp>
          <p:nvSpPr>
            <p:cNvPr id="65" name="Freeform 8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950993" y="2568533"/>
              <a:ext cx="1315743" cy="1002916"/>
            </a:xfrm>
            <a:custGeom>
              <a:avLst/>
              <a:gdLst/>
              <a:ahLst/>
              <a:cxnLst/>
              <a:rect l="l" t="t" r="r" b="b"/>
              <a:pathLst>
                <a:path w="1315743" h="1002916">
                  <a:moveTo>
                    <a:pt x="725639" y="1939"/>
                  </a:moveTo>
                  <a:cubicBezTo>
                    <a:pt x="747194" y="5173"/>
                    <a:pt x="768330" y="12478"/>
                    <a:pt x="787794" y="24044"/>
                  </a:cubicBezTo>
                  <a:cubicBezTo>
                    <a:pt x="787794" y="24044"/>
                    <a:pt x="787794" y="24044"/>
                    <a:pt x="938831" y="115314"/>
                  </a:cubicBezTo>
                  <a:cubicBezTo>
                    <a:pt x="930376" y="146609"/>
                    <a:pt x="926446" y="179496"/>
                    <a:pt x="926446" y="213301"/>
                  </a:cubicBezTo>
                  <a:cubicBezTo>
                    <a:pt x="926446" y="436338"/>
                    <a:pt x="1097499" y="619419"/>
                    <a:pt x="1315743" y="636338"/>
                  </a:cubicBezTo>
                  <a:lnTo>
                    <a:pt x="1315743" y="837336"/>
                  </a:lnTo>
                  <a:cubicBezTo>
                    <a:pt x="1315743" y="927431"/>
                    <a:pt x="1242755" y="1002916"/>
                    <a:pt x="1150303" y="1002916"/>
                  </a:cubicBezTo>
                  <a:cubicBezTo>
                    <a:pt x="1150303" y="1002916"/>
                    <a:pt x="1150303" y="1002916"/>
                    <a:pt x="96837" y="1002916"/>
                  </a:cubicBezTo>
                  <a:cubicBezTo>
                    <a:pt x="6818" y="1002916"/>
                    <a:pt x="-27244" y="942041"/>
                    <a:pt x="23848" y="866556"/>
                  </a:cubicBezTo>
                  <a:cubicBezTo>
                    <a:pt x="23848" y="866556"/>
                    <a:pt x="23848" y="866556"/>
                    <a:pt x="554231" y="77614"/>
                  </a:cubicBezTo>
                  <a:cubicBezTo>
                    <a:pt x="592550" y="19174"/>
                    <a:pt x="660976" y="-7763"/>
                    <a:pt x="725639" y="1939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68" name="Freeform 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4696266" y="1371507"/>
              <a:ext cx="1215843" cy="1269539"/>
            </a:xfrm>
            <a:custGeom>
              <a:avLst/>
              <a:gdLst/>
              <a:ahLst/>
              <a:cxnLst/>
              <a:rect l="l" t="t" r="r" b="b"/>
              <a:pathLst>
                <a:path w="1215843" h="1269539">
                  <a:moveTo>
                    <a:pt x="606706" y="0"/>
                  </a:moveTo>
                  <a:cubicBezTo>
                    <a:pt x="640162" y="0"/>
                    <a:pt x="673618" y="22120"/>
                    <a:pt x="699167" y="66362"/>
                  </a:cubicBezTo>
                  <a:cubicBezTo>
                    <a:pt x="699167" y="66362"/>
                    <a:pt x="699167" y="66362"/>
                    <a:pt x="1188239" y="916938"/>
                  </a:cubicBezTo>
                  <a:cubicBezTo>
                    <a:pt x="1239336" y="1005421"/>
                    <a:pt x="1217437" y="1122447"/>
                    <a:pt x="1139575" y="1176678"/>
                  </a:cubicBezTo>
                  <a:cubicBezTo>
                    <a:pt x="1139575" y="1176678"/>
                    <a:pt x="1139575" y="1176678"/>
                    <a:pt x="1009001" y="1269539"/>
                  </a:cubicBezTo>
                  <a:cubicBezTo>
                    <a:pt x="952366" y="1102707"/>
                    <a:pt x="794061" y="983515"/>
                    <a:pt x="607922" y="983515"/>
                  </a:cubicBezTo>
                  <a:cubicBezTo>
                    <a:pt x="421783" y="983515"/>
                    <a:pt x="263478" y="1102707"/>
                    <a:pt x="206844" y="1269539"/>
                  </a:cubicBezTo>
                  <a:lnTo>
                    <a:pt x="76269" y="1176678"/>
                  </a:lnTo>
                  <a:cubicBezTo>
                    <a:pt x="-1593" y="1122447"/>
                    <a:pt x="-23492" y="1005421"/>
                    <a:pt x="27605" y="916938"/>
                  </a:cubicBezTo>
                  <a:cubicBezTo>
                    <a:pt x="27605" y="916938"/>
                    <a:pt x="27605" y="916938"/>
                    <a:pt x="514244" y="66362"/>
                  </a:cubicBezTo>
                  <a:cubicBezTo>
                    <a:pt x="539793" y="22120"/>
                    <a:pt x="573249" y="0"/>
                    <a:pt x="606706" y="0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71" name="Freeform 7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5325869" y="2568533"/>
              <a:ext cx="1332824" cy="1002916"/>
            </a:xfrm>
            <a:custGeom>
              <a:avLst/>
              <a:gdLst/>
              <a:ahLst/>
              <a:cxnLst/>
              <a:rect l="l" t="t" r="r" b="b"/>
              <a:pathLst>
                <a:path w="1332824" h="1002916">
                  <a:moveTo>
                    <a:pt x="604725" y="1939"/>
                  </a:moveTo>
                  <a:cubicBezTo>
                    <a:pt x="669391" y="-7763"/>
                    <a:pt x="737820" y="19174"/>
                    <a:pt x="776140" y="77614"/>
                  </a:cubicBezTo>
                  <a:cubicBezTo>
                    <a:pt x="776140" y="77614"/>
                    <a:pt x="776140" y="77614"/>
                    <a:pt x="1308976" y="866556"/>
                  </a:cubicBezTo>
                  <a:cubicBezTo>
                    <a:pt x="1360070" y="942041"/>
                    <a:pt x="1326008" y="1002916"/>
                    <a:pt x="1235985" y="1002916"/>
                  </a:cubicBezTo>
                  <a:cubicBezTo>
                    <a:pt x="1235985" y="1002916"/>
                    <a:pt x="1235985" y="1002916"/>
                    <a:pt x="165447" y="1002916"/>
                  </a:cubicBezTo>
                  <a:cubicBezTo>
                    <a:pt x="75425" y="1002916"/>
                    <a:pt x="0" y="927431"/>
                    <a:pt x="0" y="837336"/>
                  </a:cubicBezTo>
                  <a:cubicBezTo>
                    <a:pt x="0" y="837336"/>
                    <a:pt x="0" y="837336"/>
                    <a:pt x="0" y="637928"/>
                  </a:cubicBezTo>
                  <a:cubicBezTo>
                    <a:pt x="225655" y="628235"/>
                    <a:pt x="405066" y="441723"/>
                    <a:pt x="405066" y="213301"/>
                  </a:cubicBezTo>
                  <a:cubicBezTo>
                    <a:pt x="405066" y="179557"/>
                    <a:pt x="401151" y="146727"/>
                    <a:pt x="392733" y="115481"/>
                  </a:cubicBezTo>
                  <a:lnTo>
                    <a:pt x="542568" y="24044"/>
                  </a:lnTo>
                  <a:cubicBezTo>
                    <a:pt x="562033" y="12478"/>
                    <a:pt x="583170" y="5173"/>
                    <a:pt x="604725" y="1939"/>
                  </a:cubicBezTo>
                  <a:close/>
                </a:path>
              </a:pathLst>
            </a:custGeom>
            <a:grpFill/>
            <a:ln>
              <a:noFill/>
              <a:prstDash val="solid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63" name="Rechteck 62"/>
          <p:cNvSpPr/>
          <p:nvPr userDrawn="1"/>
        </p:nvSpPr>
        <p:spPr>
          <a:xfrm>
            <a:off x="804723" y="4056380"/>
            <a:ext cx="36000" cy="35153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53" name="Rechteck 52"/>
          <p:cNvSpPr/>
          <p:nvPr userDrawn="1"/>
        </p:nvSpPr>
        <p:spPr>
          <a:xfrm>
            <a:off x="431540" y="1095586"/>
            <a:ext cx="4824000" cy="29160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4016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842965"/>
            <a:ext cx="9144000" cy="356552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Ellipse 6"/>
          <p:cNvSpPr/>
          <p:nvPr userDrawn="1"/>
        </p:nvSpPr>
        <p:spPr>
          <a:xfrm>
            <a:off x="432000" y="842964"/>
            <a:ext cx="8279598" cy="3565525"/>
          </a:xfrm>
          <a:custGeom>
            <a:avLst/>
            <a:gdLst/>
            <a:ahLst/>
            <a:cxnLst/>
            <a:rect l="l" t="t" r="r" b="b"/>
            <a:pathLst>
              <a:path w="8279598" h="3565525">
                <a:moveTo>
                  <a:pt x="4139799" y="320473"/>
                </a:moveTo>
                <a:cubicBezTo>
                  <a:pt x="3362605" y="320473"/>
                  <a:pt x="2732564" y="950514"/>
                  <a:pt x="2732564" y="1727708"/>
                </a:cubicBezTo>
                <a:cubicBezTo>
                  <a:pt x="2732564" y="2504902"/>
                  <a:pt x="3362605" y="3134943"/>
                  <a:pt x="4139799" y="3134943"/>
                </a:cubicBezTo>
                <a:cubicBezTo>
                  <a:pt x="4916993" y="3134943"/>
                  <a:pt x="5547034" y="2504902"/>
                  <a:pt x="5547034" y="1727708"/>
                </a:cubicBezTo>
                <a:cubicBezTo>
                  <a:pt x="5547034" y="950514"/>
                  <a:pt x="4916993" y="320473"/>
                  <a:pt x="4139799" y="320473"/>
                </a:cubicBezTo>
                <a:close/>
                <a:moveTo>
                  <a:pt x="402663" y="0"/>
                </a:moveTo>
                <a:lnTo>
                  <a:pt x="7876935" y="0"/>
                </a:lnTo>
                <a:cubicBezTo>
                  <a:pt x="8135169" y="539733"/>
                  <a:pt x="8279598" y="1144231"/>
                  <a:pt x="8279598" y="1782463"/>
                </a:cubicBezTo>
                <a:cubicBezTo>
                  <a:pt x="8279598" y="2420929"/>
                  <a:pt x="8135064" y="3025636"/>
                  <a:pt x="7876664" y="3565525"/>
                </a:cubicBezTo>
                <a:lnTo>
                  <a:pt x="402934" y="3565525"/>
                </a:lnTo>
                <a:cubicBezTo>
                  <a:pt x="144535" y="3025636"/>
                  <a:pt x="0" y="2420929"/>
                  <a:pt x="0" y="1782463"/>
                </a:cubicBezTo>
                <a:cubicBezTo>
                  <a:pt x="0" y="1144231"/>
                  <a:pt x="144429" y="539733"/>
                  <a:pt x="402663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7" name="Kreis 42"/>
          <p:cNvSpPr/>
          <p:nvPr userDrawn="1"/>
        </p:nvSpPr>
        <p:spPr>
          <a:xfrm>
            <a:off x="647540" y="842964"/>
            <a:ext cx="7820747" cy="3565525"/>
          </a:xfrm>
          <a:custGeom>
            <a:avLst/>
            <a:gdLst/>
            <a:ahLst/>
            <a:cxnLst/>
            <a:rect l="l" t="t" r="r" b="b"/>
            <a:pathLst>
              <a:path w="7820747" h="3565525">
                <a:moveTo>
                  <a:pt x="429298" y="0"/>
                </a:moveTo>
                <a:lnTo>
                  <a:pt x="7391763" y="0"/>
                </a:lnTo>
                <a:cubicBezTo>
                  <a:pt x="7651122" y="505499"/>
                  <a:pt x="7803791" y="1075686"/>
                  <a:pt x="7819421" y="1681629"/>
                </a:cubicBezTo>
                <a:cubicBezTo>
                  <a:pt x="7836912" y="2359709"/>
                  <a:pt x="7680714" y="3001920"/>
                  <a:pt x="7391117" y="3565525"/>
                </a:cubicBezTo>
                <a:lnTo>
                  <a:pt x="3956445" y="3565525"/>
                </a:lnTo>
                <a:lnTo>
                  <a:pt x="3945292" y="3133881"/>
                </a:lnTo>
                <a:cubicBezTo>
                  <a:pt x="4712796" y="3123537"/>
                  <a:pt x="5331494" y="2497875"/>
                  <a:pt x="5331494" y="1727708"/>
                </a:cubicBezTo>
                <a:cubicBezTo>
                  <a:pt x="5331494" y="950514"/>
                  <a:pt x="4701453" y="320473"/>
                  <a:pt x="3924259" y="320473"/>
                </a:cubicBezTo>
                <a:cubicBezTo>
                  <a:pt x="3147065" y="320473"/>
                  <a:pt x="2517024" y="950514"/>
                  <a:pt x="2517024" y="1727708"/>
                </a:cubicBezTo>
                <a:cubicBezTo>
                  <a:pt x="2517024" y="2504902"/>
                  <a:pt x="3147065" y="3134943"/>
                  <a:pt x="3924259" y="3134943"/>
                </a:cubicBezTo>
                <a:cubicBezTo>
                  <a:pt x="3931208" y="3134943"/>
                  <a:pt x="3938146" y="3134893"/>
                  <a:pt x="3945058" y="3133893"/>
                </a:cubicBezTo>
                <a:lnTo>
                  <a:pt x="3956136" y="3565525"/>
                </a:lnTo>
                <a:lnTo>
                  <a:pt x="429264" y="3565525"/>
                </a:lnTo>
                <a:cubicBezTo>
                  <a:pt x="169693" y="3059773"/>
                  <a:pt x="16904" y="2489260"/>
                  <a:pt x="1317" y="1882960"/>
                </a:cubicBezTo>
                <a:cubicBezTo>
                  <a:pt x="-16106" y="1205243"/>
                  <a:pt x="139971" y="563372"/>
                  <a:pt x="429298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9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2518074" y="320473"/>
                </a:moveTo>
                <a:cubicBezTo>
                  <a:pt x="1740880" y="320473"/>
                  <a:pt x="1110839" y="950514"/>
                  <a:pt x="1110839" y="1727708"/>
                </a:cubicBezTo>
                <a:cubicBezTo>
                  <a:pt x="1110839" y="2504902"/>
                  <a:pt x="1740880" y="3134943"/>
                  <a:pt x="2518074" y="3134943"/>
                </a:cubicBezTo>
                <a:cubicBezTo>
                  <a:pt x="3295268" y="3134943"/>
                  <a:pt x="3925309" y="2504902"/>
                  <a:pt x="3925309" y="1727708"/>
                </a:cubicBezTo>
                <a:cubicBezTo>
                  <a:pt x="3925309" y="950514"/>
                  <a:pt x="3295268" y="320473"/>
                  <a:pt x="2518074" y="320473"/>
                </a:cubicBezTo>
                <a:close/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83752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9" name="Rectangle 5"/>
          <p:cNvSpPr/>
          <p:nvPr userDrawn="1"/>
        </p:nvSpPr>
        <p:spPr>
          <a:xfrm>
            <a:off x="378000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Rectangle 7"/>
          <p:cNvSpPr/>
          <p:nvPr userDrawn="1"/>
        </p:nvSpPr>
        <p:spPr>
          <a:xfrm>
            <a:off x="545423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90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1" name="Rectangle 11"/>
          <p:cNvSpPr/>
          <p:nvPr userDrawn="1"/>
        </p:nvSpPr>
        <p:spPr>
          <a:xfrm>
            <a:off x="378000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" name="Rectangle 12"/>
          <p:cNvSpPr/>
          <p:nvPr userDrawn="1"/>
        </p:nvSpPr>
        <p:spPr>
          <a:xfrm>
            <a:off x="545423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90000" bIns="90000" anchor="ctr"/>
          <a:lstStyle/>
          <a:p>
            <a:pPr algn="r">
              <a:lnSpc>
                <a:spcPct val="90000"/>
              </a:lnSpc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3" name="Rectangle 7"/>
          <p:cNvSpPr/>
          <p:nvPr userDrawn="1"/>
        </p:nvSpPr>
        <p:spPr>
          <a:xfrm>
            <a:off x="712846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ctr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4" name="Rectangle 8"/>
          <p:cNvSpPr/>
          <p:nvPr userDrawn="1"/>
        </p:nvSpPr>
        <p:spPr>
          <a:xfrm>
            <a:off x="712846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144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5" name="Rectangle 8"/>
          <p:cNvSpPr/>
          <p:nvPr userDrawn="1"/>
        </p:nvSpPr>
        <p:spPr>
          <a:xfrm>
            <a:off x="210577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144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GB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" name="Rectangle 9"/>
          <p:cNvSpPr/>
          <p:nvPr userDrawn="1"/>
        </p:nvSpPr>
        <p:spPr>
          <a:xfrm>
            <a:off x="210577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124191"/>
              </a:solidFill>
              <a:cs typeface="Arial" pitchFamily="34" charset="0"/>
            </a:endParaRPr>
          </a:p>
        </p:txBody>
      </p:sp>
      <p:sp>
        <p:nvSpPr>
          <p:cNvPr id="27" name="Rectangle 4"/>
          <p:cNvSpPr/>
          <p:nvPr userDrawn="1"/>
        </p:nvSpPr>
        <p:spPr>
          <a:xfrm>
            <a:off x="43154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8" name="Rectangle 4"/>
          <p:cNvSpPr/>
          <p:nvPr userDrawn="1"/>
        </p:nvSpPr>
        <p:spPr>
          <a:xfrm>
            <a:off x="43154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4321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727247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Nokia White 0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35222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8191197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041407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64643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901301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0"/>
            <a:ext cx="8244000" cy="22536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46621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00624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877963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5057676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433155" y="842963"/>
            <a:ext cx="8280400" cy="35655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648" name="Ellipse 647"/>
          <p:cNvSpPr/>
          <p:nvPr userDrawn="1"/>
        </p:nvSpPr>
        <p:spPr>
          <a:xfrm>
            <a:off x="432000" y="848312"/>
            <a:ext cx="8175694" cy="3560176"/>
          </a:xfrm>
          <a:custGeom>
            <a:avLst/>
            <a:gdLst/>
            <a:ahLst/>
            <a:cxnLst/>
            <a:rect l="l" t="t" r="r" b="b"/>
            <a:pathLst>
              <a:path w="8175694" h="3560176">
                <a:moveTo>
                  <a:pt x="409070" y="0"/>
                </a:moveTo>
                <a:lnTo>
                  <a:pt x="7766624" y="0"/>
                </a:lnTo>
                <a:cubicBezTo>
                  <a:pt x="8028794" y="538970"/>
                  <a:pt x="8175694" y="1144279"/>
                  <a:pt x="8175694" y="1783897"/>
                </a:cubicBezTo>
                <a:cubicBezTo>
                  <a:pt x="8175694" y="2420472"/>
                  <a:pt x="8030189" y="3023062"/>
                  <a:pt x="7770526" y="3560176"/>
                </a:cubicBezTo>
                <a:lnTo>
                  <a:pt x="405168" y="3560176"/>
                </a:lnTo>
                <a:cubicBezTo>
                  <a:pt x="145505" y="3023062"/>
                  <a:pt x="0" y="2420472"/>
                  <a:pt x="0" y="1783897"/>
                </a:cubicBezTo>
                <a:cubicBezTo>
                  <a:pt x="0" y="1144279"/>
                  <a:pt x="146900" y="538970"/>
                  <a:pt x="409070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3" name="Ellipse 642"/>
          <p:cNvSpPr/>
          <p:nvPr userDrawn="1"/>
        </p:nvSpPr>
        <p:spPr>
          <a:xfrm>
            <a:off x="628166" y="280400"/>
            <a:ext cx="7783363" cy="4703618"/>
          </a:xfrm>
          <a:custGeom>
            <a:avLst/>
            <a:gdLst/>
            <a:ahLst/>
            <a:cxnLst/>
            <a:rect l="l" t="t" r="r" b="b"/>
            <a:pathLst>
              <a:path w="7783363" h="4703618">
                <a:moveTo>
                  <a:pt x="2351806" y="0"/>
                </a:moveTo>
                <a:cubicBezTo>
                  <a:pt x="2941384" y="0"/>
                  <a:pt x="3480291" y="216949"/>
                  <a:pt x="3891682" y="576946"/>
                </a:cubicBezTo>
                <a:cubicBezTo>
                  <a:pt x="4303073" y="216949"/>
                  <a:pt x="4841979" y="0"/>
                  <a:pt x="5431557" y="0"/>
                </a:cubicBezTo>
                <a:cubicBezTo>
                  <a:pt x="6730424" y="0"/>
                  <a:pt x="7783363" y="1052941"/>
                  <a:pt x="7783363" y="2351809"/>
                </a:cubicBezTo>
                <a:cubicBezTo>
                  <a:pt x="7783363" y="3650677"/>
                  <a:pt x="6730424" y="4703618"/>
                  <a:pt x="5431557" y="4703618"/>
                </a:cubicBezTo>
                <a:cubicBezTo>
                  <a:pt x="4841979" y="4703618"/>
                  <a:pt x="4303073" y="4486670"/>
                  <a:pt x="3891682" y="4126673"/>
                </a:cubicBezTo>
                <a:cubicBezTo>
                  <a:pt x="3480291" y="4486670"/>
                  <a:pt x="2941384" y="4703618"/>
                  <a:pt x="2351806" y="4703618"/>
                </a:cubicBezTo>
                <a:cubicBezTo>
                  <a:pt x="1052939" y="4703618"/>
                  <a:pt x="0" y="3650677"/>
                  <a:pt x="0" y="2351809"/>
                </a:cubicBezTo>
                <a:cubicBezTo>
                  <a:pt x="0" y="1052941"/>
                  <a:pt x="1052939" y="0"/>
                  <a:pt x="2351806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638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39" name="Ellipse 638"/>
          <p:cNvSpPr/>
          <p:nvPr userDrawn="1"/>
        </p:nvSpPr>
        <p:spPr>
          <a:xfrm flipH="1">
            <a:off x="4416754" y="2513498"/>
            <a:ext cx="310492" cy="244200"/>
          </a:xfrm>
          <a:prstGeom prst="ellipse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0" name="Ellipse 19"/>
          <p:cNvSpPr/>
          <p:nvPr userDrawn="1"/>
        </p:nvSpPr>
        <p:spPr>
          <a:xfrm flipH="1">
            <a:off x="3527978" y="1594144"/>
            <a:ext cx="2082610" cy="2082912"/>
          </a:xfrm>
          <a:custGeom>
            <a:avLst/>
            <a:gdLst/>
            <a:ahLst/>
            <a:cxnLst/>
            <a:rect l="l" t="t" r="r" b="b"/>
            <a:pathLst>
              <a:path w="2082610" h="2082912">
                <a:moveTo>
                  <a:pt x="1058406" y="0"/>
                </a:moveTo>
                <a:lnTo>
                  <a:pt x="1058406" y="340217"/>
                </a:lnTo>
                <a:cubicBezTo>
                  <a:pt x="1058406" y="350158"/>
                  <a:pt x="1050347" y="358217"/>
                  <a:pt x="1040406" y="358217"/>
                </a:cubicBezTo>
                <a:cubicBezTo>
                  <a:pt x="1030465" y="358217"/>
                  <a:pt x="1022406" y="350158"/>
                  <a:pt x="1022406" y="340217"/>
                </a:cubicBezTo>
                <a:lnTo>
                  <a:pt x="1022406" y="101"/>
                </a:lnTo>
                <a:cubicBezTo>
                  <a:pt x="461516" y="9307"/>
                  <a:pt x="8761" y="462394"/>
                  <a:pt x="0" y="1023454"/>
                </a:cubicBezTo>
                <a:lnTo>
                  <a:pt x="346260" y="1023454"/>
                </a:lnTo>
                <a:cubicBezTo>
                  <a:pt x="356201" y="1023454"/>
                  <a:pt x="364260" y="1031513"/>
                  <a:pt x="364260" y="1041454"/>
                </a:cubicBezTo>
                <a:cubicBezTo>
                  <a:pt x="364260" y="1051395"/>
                  <a:pt x="356201" y="1059454"/>
                  <a:pt x="346260" y="1059454"/>
                </a:cubicBezTo>
                <a:lnTo>
                  <a:pt x="10" y="1059454"/>
                </a:lnTo>
                <a:cubicBezTo>
                  <a:pt x="8767" y="1620516"/>
                  <a:pt x="461515" y="2073613"/>
                  <a:pt x="1022406" y="2082821"/>
                </a:cubicBezTo>
                <a:lnTo>
                  <a:pt x="1022406" y="1735592"/>
                </a:lnTo>
                <a:cubicBezTo>
                  <a:pt x="1022406" y="1725651"/>
                  <a:pt x="1030465" y="1717592"/>
                  <a:pt x="1040406" y="1717592"/>
                </a:cubicBezTo>
                <a:cubicBezTo>
                  <a:pt x="1050347" y="1717592"/>
                  <a:pt x="1058406" y="1725651"/>
                  <a:pt x="1058406" y="1735592"/>
                </a:cubicBezTo>
                <a:lnTo>
                  <a:pt x="1058406" y="2082912"/>
                </a:lnTo>
                <a:cubicBezTo>
                  <a:pt x="1620131" y="2074588"/>
                  <a:pt x="2073844" y="1621119"/>
                  <a:pt x="2082610" y="1059454"/>
                </a:cubicBezTo>
                <a:lnTo>
                  <a:pt x="1742482" y="1059454"/>
                </a:lnTo>
                <a:cubicBezTo>
                  <a:pt x="1732541" y="1059454"/>
                  <a:pt x="1724482" y="1051395"/>
                  <a:pt x="1724482" y="1041454"/>
                </a:cubicBezTo>
                <a:cubicBezTo>
                  <a:pt x="1724482" y="1031513"/>
                  <a:pt x="1732541" y="1023454"/>
                  <a:pt x="1742482" y="1023454"/>
                </a:cubicBezTo>
                <a:lnTo>
                  <a:pt x="2082610" y="1023454"/>
                </a:lnTo>
                <a:cubicBezTo>
                  <a:pt x="2073841" y="461791"/>
                  <a:pt x="1620130" y="8324"/>
                  <a:pt x="1058406" y="0"/>
                </a:cubicBezTo>
                <a:close/>
              </a:path>
            </a:pathLst>
          </a:custGeom>
          <a:gradFill flip="none" rotWithShape="1">
            <a:gsLst>
              <a:gs pos="1000">
                <a:schemeClr val="accent1">
                  <a:alpha val="0"/>
                </a:schemeClr>
              </a:gs>
              <a:gs pos="100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effectLst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1" name="Rechteck 640">
            <a:hlinkClick r:id="" action="ppaction://hlinkshowjump?jump=previousslide"/>
          </p:cNvPr>
          <p:cNvSpPr/>
          <p:nvPr userDrawn="1"/>
        </p:nvSpPr>
        <p:spPr>
          <a:xfrm>
            <a:off x="1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642" name="Rechteck 641">
            <a:hlinkClick r:id="" action="ppaction://hlinkshowjump?jump=nextslide"/>
          </p:cNvPr>
          <p:cNvSpPr/>
          <p:nvPr userDrawn="1"/>
        </p:nvSpPr>
        <p:spPr>
          <a:xfrm>
            <a:off x="8784468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0"/>
            <a:ext cx="9144000" cy="842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7021279" y="3240376"/>
            <a:ext cx="1692276" cy="116811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</a:rPr>
              <a:t>Brooklyn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5G Summits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908616" y="552857"/>
            <a:ext cx="7227780" cy="4145738"/>
            <a:chOff x="827584" y="663478"/>
            <a:chExt cx="6842062" cy="3924496"/>
          </a:xfrm>
        </p:grpSpPr>
        <p:grpSp>
          <p:nvGrpSpPr>
            <p:cNvPr id="11" name="Gruppieren 10"/>
            <p:cNvGrpSpPr/>
            <p:nvPr userDrawn="1"/>
          </p:nvGrpSpPr>
          <p:grpSpPr>
            <a:xfrm>
              <a:off x="827584" y="663478"/>
              <a:ext cx="6842062" cy="3924496"/>
              <a:chOff x="1223628" y="1275606"/>
              <a:chExt cx="4643859" cy="2663639"/>
            </a:xfrm>
            <a:solidFill>
              <a:schemeClr val="bg1"/>
            </a:solidFill>
          </p:grpSpPr>
          <p:sp>
            <p:nvSpPr>
              <p:cNvPr id="12" name="Ellipse 11"/>
              <p:cNvSpPr/>
              <p:nvPr/>
            </p:nvSpPr>
            <p:spPr>
              <a:xfrm>
                <a:off x="122362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  <p:sp>
            <p:nvSpPr>
              <p:cNvPr id="13" name="Ellipse 12"/>
              <p:cNvSpPr/>
              <p:nvPr/>
            </p:nvSpPr>
            <p:spPr>
              <a:xfrm>
                <a:off x="320384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</p:grpSp>
        <p:grpSp>
          <p:nvGrpSpPr>
            <p:cNvPr id="21" name="Gruppieren 20"/>
            <p:cNvGrpSpPr/>
            <p:nvPr userDrawn="1"/>
          </p:nvGrpSpPr>
          <p:grpSpPr>
            <a:xfrm>
              <a:off x="1031428" y="1270113"/>
              <a:ext cx="6216263" cy="2921817"/>
              <a:chOff x="1802724" y="1270113"/>
              <a:chExt cx="5538554" cy="2603275"/>
            </a:xfrm>
            <a:solidFill>
              <a:schemeClr val="accent1">
                <a:alpha val="16000"/>
              </a:schemeClr>
            </a:solidFill>
          </p:grpSpPr>
          <p:grpSp>
            <p:nvGrpSpPr>
              <p:cNvPr id="22" name="Group 337"/>
              <p:cNvGrpSpPr>
                <a:grpSpLocks/>
              </p:cNvGrpSpPr>
              <p:nvPr/>
            </p:nvGrpSpPr>
            <p:grpSpPr bwMode="auto">
              <a:xfrm>
                <a:off x="2848300" y="2566931"/>
                <a:ext cx="840961" cy="1306457"/>
                <a:chOff x="2174876" y="3565526"/>
                <a:chExt cx="1246188" cy="1936750"/>
              </a:xfrm>
              <a:grpFill/>
            </p:grpSpPr>
            <p:sp>
              <p:nvSpPr>
                <p:cNvPr id="604" name="Freeform 108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5" name="Freeform 109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6" name="Freeform 118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7" name="Freeform 119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8" name="Freeform 120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9" name="Freeform 121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0" name="Freeform 122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1" name="Freeform 123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2" name="Freeform 124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3" name="Freeform 125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4" name="Freeform 126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5" name="Freeform 127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6" name="Freeform 128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7" name="Freeform 129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8" name="Freeform 130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9" name="Freeform 131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0" name="Freeform 132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1" name="Freeform 133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2" name="Freeform 134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3" name="Freeform 135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4" name="Freeform 136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5" name="Freeform 137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6" name="Freeform 138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7" name="Freeform 139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8" name="Freeform 140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9" name="Freeform 141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0" name="Freeform 142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1" name="Freeform 143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2" name="Freeform 144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3" name="Freeform 145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4" name="Freeform 146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5" name="Freeform 147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grpSp>
            <p:nvGrpSpPr>
              <p:cNvPr id="23" name="Group 338"/>
              <p:cNvGrpSpPr>
                <a:grpSpLocks/>
              </p:cNvGrpSpPr>
              <p:nvPr/>
            </p:nvGrpSpPr>
            <p:grpSpPr bwMode="auto">
              <a:xfrm>
                <a:off x="1802724" y="1270113"/>
                <a:ext cx="2381471" cy="1399622"/>
                <a:chOff x="625476" y="1643063"/>
                <a:chExt cx="3529013" cy="2074863"/>
              </a:xfrm>
              <a:grpFill/>
            </p:grpSpPr>
            <p:sp>
              <p:nvSpPr>
                <p:cNvPr id="500" name="Freeform 18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1" name="Freeform 19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2" name="Freeform 20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3" name="Freeform 21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4" name="Freeform 22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5" name="Freeform 23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6" name="Freeform 24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7" name="Freeform 25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8" name="Freeform 26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9" name="Freeform 27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0" name="Freeform 28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1" name="Freeform 29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2" name="Freeform 30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3" name="Freeform 31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4" name="Freeform 32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5" name="Freeform 33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6" name="Freeform 34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7" name="Freeform 35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8" name="Freeform 36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9" name="Freeform 37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0" name="Freeform 38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1" name="Freeform 39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2" name="Freeform 40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3" name="Freeform 41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4" name="Freeform 42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5" name="Freeform 43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6" name="Freeform 44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7" name="Freeform 45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8" name="Freeform 46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9" name="Freeform 47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0" name="Freeform 48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1" name="Freeform 49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2" name="Freeform 50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3" name="Freeform 51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4" name="Freeform 52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5" name="Freeform 53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6" name="Freeform 54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7" name="Freeform 55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8" name="Freeform 56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9" name="Freeform 57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0" name="Freeform 58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1" name="Freeform 59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2" name="Freeform 60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3" name="Freeform 61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4" name="Freeform 62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5" name="Freeform 63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6" name="Freeform 64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7" name="Freeform 65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8" name="Freeform 66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9" name="Freeform 67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0" name="Freeform 68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1" name="Freeform 69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2" name="Freeform 70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3" name="Freeform 71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4" name="Freeform 72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5" name="Freeform 73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6" name="Freeform 74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7" name="Freeform 75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8" name="Rectangle 76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9" name="Rectangle 77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0" name="Freeform 78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1" name="Freeform 79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2" name="Freeform 80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3" name="Freeform 81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4" name="Freeform 82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5" name="Freeform 83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6" name="Freeform 84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7" name="Freeform 85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8" name="Freeform 86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9" name="Freeform 87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0" name="Freeform 88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1" name="Freeform 89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2" name="Freeform 90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3" name="Freeform 91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4" name="Freeform 92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5" name="Freeform 93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6" name="Freeform 94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7" name="Freeform 95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8" name="Freeform 96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9" name="Freeform 97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0" name="Freeform 98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1" name="Freeform 99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2" name="Freeform 100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3" name="Freeform 101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4" name="Freeform 102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5" name="Freeform 103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6" name="Freeform 104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7" name="Freeform 105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8" name="Freeform 106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9" name="Freeform 107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0" name="Freeform 110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1" name="Freeform 111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2" name="Freeform 112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3" name="Freeform 113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4" name="Freeform 114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5" name="Freeform 115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6" name="Freeform 116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7" name="Freeform 117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8" name="Freeform 154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9" name="Freeform 155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0" name="Freeform 156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1" name="Freeform 157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2" name="Freeform 158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3" name="Freeform 159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4" name="Freeform 308"/>
              <p:cNvSpPr>
                <a:spLocks/>
              </p:cNvSpPr>
              <p:nvPr/>
            </p:nvSpPr>
            <p:spPr bwMode="auto">
              <a:xfrm>
                <a:off x="4212048" y="1642775"/>
                <a:ext cx="130697" cy="177764"/>
              </a:xfrm>
              <a:custGeom>
                <a:avLst/>
                <a:gdLst>
                  <a:gd name="T0" fmla="*/ 2147483647 w 122"/>
                  <a:gd name="T1" fmla="*/ 0 h 166"/>
                  <a:gd name="T2" fmla="*/ 2147483647 w 122"/>
                  <a:gd name="T3" fmla="*/ 2147483647 h 166"/>
                  <a:gd name="T4" fmla="*/ 0 w 122"/>
                  <a:gd name="T5" fmla="*/ 2147483647 h 166"/>
                  <a:gd name="T6" fmla="*/ 2147483647 w 122"/>
                  <a:gd name="T7" fmla="*/ 2147483647 h 166"/>
                  <a:gd name="T8" fmla="*/ 2147483647 w 122"/>
                  <a:gd name="T9" fmla="*/ 2147483647 h 166"/>
                  <a:gd name="T10" fmla="*/ 2147483647 w 122"/>
                  <a:gd name="T11" fmla="*/ 2147483647 h 166"/>
                  <a:gd name="T12" fmla="*/ 2147483647 w 122"/>
                  <a:gd name="T13" fmla="*/ 2147483647 h 166"/>
                  <a:gd name="T14" fmla="*/ 2147483647 w 122"/>
                  <a:gd name="T15" fmla="*/ 2147483647 h 166"/>
                  <a:gd name="T16" fmla="*/ 2147483647 w 122"/>
                  <a:gd name="T17" fmla="*/ 2147483647 h 166"/>
                  <a:gd name="T18" fmla="*/ 2147483647 w 122"/>
                  <a:gd name="T19" fmla="*/ 2147483647 h 166"/>
                  <a:gd name="T20" fmla="*/ 2147483647 w 122"/>
                  <a:gd name="T21" fmla="*/ 2147483647 h 166"/>
                  <a:gd name="T22" fmla="*/ 2147483647 w 122"/>
                  <a:gd name="T23" fmla="*/ 2147483647 h 166"/>
                  <a:gd name="T24" fmla="*/ 2147483647 w 122"/>
                  <a:gd name="T25" fmla="*/ 2147483647 h 166"/>
                  <a:gd name="T26" fmla="*/ 2147483647 w 122"/>
                  <a:gd name="T27" fmla="*/ 2147483647 h 166"/>
                  <a:gd name="T28" fmla="*/ 2147483647 w 122"/>
                  <a:gd name="T29" fmla="*/ 2147483647 h 166"/>
                  <a:gd name="T30" fmla="*/ 2147483647 w 122"/>
                  <a:gd name="T31" fmla="*/ 2147483647 h 166"/>
                  <a:gd name="T32" fmla="*/ 2147483647 w 122"/>
                  <a:gd name="T33" fmla="*/ 2147483647 h 166"/>
                  <a:gd name="T34" fmla="*/ 2147483647 w 122"/>
                  <a:gd name="T35" fmla="*/ 2147483647 h 166"/>
                  <a:gd name="T36" fmla="*/ 2147483647 w 122"/>
                  <a:gd name="T37" fmla="*/ 2147483647 h 166"/>
                  <a:gd name="T38" fmla="*/ 2147483647 w 122"/>
                  <a:gd name="T39" fmla="*/ 2147483647 h 166"/>
                  <a:gd name="T40" fmla="*/ 2147483647 w 122"/>
                  <a:gd name="T41" fmla="*/ 2147483647 h 166"/>
                  <a:gd name="T42" fmla="*/ 2147483647 w 122"/>
                  <a:gd name="T43" fmla="*/ 2147483647 h 166"/>
                  <a:gd name="T44" fmla="*/ 2147483647 w 122"/>
                  <a:gd name="T45" fmla="*/ 2147483647 h 166"/>
                  <a:gd name="T46" fmla="*/ 2147483647 w 122"/>
                  <a:gd name="T47" fmla="*/ 2147483647 h 166"/>
                  <a:gd name="T48" fmla="*/ 2147483647 w 122"/>
                  <a:gd name="T49" fmla="*/ 2147483647 h 166"/>
                  <a:gd name="T50" fmla="*/ 2147483647 w 122"/>
                  <a:gd name="T51" fmla="*/ 2147483647 h 166"/>
                  <a:gd name="T52" fmla="*/ 2147483647 w 122"/>
                  <a:gd name="T53" fmla="*/ 2147483647 h 166"/>
                  <a:gd name="T54" fmla="*/ 2147483647 w 122"/>
                  <a:gd name="T55" fmla="*/ 2147483647 h 166"/>
                  <a:gd name="T56" fmla="*/ 2147483647 w 122"/>
                  <a:gd name="T57" fmla="*/ 2147483647 h 166"/>
                  <a:gd name="T58" fmla="*/ 2147483647 w 122"/>
                  <a:gd name="T59" fmla="*/ 2147483647 h 166"/>
                  <a:gd name="T60" fmla="*/ 2147483647 w 122"/>
                  <a:gd name="T61" fmla="*/ 2147483647 h 166"/>
                  <a:gd name="T62" fmla="*/ 2147483647 w 122"/>
                  <a:gd name="T63" fmla="*/ 2147483647 h 166"/>
                  <a:gd name="T64" fmla="*/ 2147483647 w 122"/>
                  <a:gd name="T65" fmla="*/ 2147483647 h 166"/>
                  <a:gd name="T66" fmla="*/ 2147483647 w 122"/>
                  <a:gd name="T67" fmla="*/ 0 h 1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2"/>
                  <a:gd name="T103" fmla="*/ 0 h 166"/>
                  <a:gd name="T104" fmla="*/ 122 w 122"/>
                  <a:gd name="T105" fmla="*/ 166 h 16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2" h="166">
                    <a:moveTo>
                      <a:pt x="9" y="0"/>
                    </a:moveTo>
                    <a:lnTo>
                      <a:pt x="9" y="9"/>
                    </a:lnTo>
                    <a:lnTo>
                      <a:pt x="0" y="18"/>
                    </a:lnTo>
                    <a:lnTo>
                      <a:pt x="9" y="26"/>
                    </a:lnTo>
                    <a:lnTo>
                      <a:pt x="9" y="53"/>
                    </a:lnTo>
                    <a:lnTo>
                      <a:pt x="9" y="61"/>
                    </a:lnTo>
                    <a:lnTo>
                      <a:pt x="26" y="61"/>
                    </a:lnTo>
                    <a:lnTo>
                      <a:pt x="26" y="79"/>
                    </a:lnTo>
                    <a:lnTo>
                      <a:pt x="53" y="87"/>
                    </a:lnTo>
                    <a:lnTo>
                      <a:pt x="53" y="96"/>
                    </a:lnTo>
                    <a:lnTo>
                      <a:pt x="26" y="114"/>
                    </a:lnTo>
                    <a:lnTo>
                      <a:pt x="26" y="131"/>
                    </a:lnTo>
                    <a:lnTo>
                      <a:pt x="53" y="140"/>
                    </a:lnTo>
                    <a:lnTo>
                      <a:pt x="18" y="148"/>
                    </a:lnTo>
                    <a:lnTo>
                      <a:pt x="9" y="166"/>
                    </a:lnTo>
                    <a:lnTo>
                      <a:pt x="53" y="148"/>
                    </a:lnTo>
                    <a:lnTo>
                      <a:pt x="96" y="148"/>
                    </a:lnTo>
                    <a:lnTo>
                      <a:pt x="105" y="140"/>
                    </a:lnTo>
                    <a:lnTo>
                      <a:pt x="105" y="131"/>
                    </a:lnTo>
                    <a:lnTo>
                      <a:pt x="122" y="122"/>
                    </a:lnTo>
                    <a:lnTo>
                      <a:pt x="122" y="114"/>
                    </a:lnTo>
                    <a:lnTo>
                      <a:pt x="105" y="114"/>
                    </a:lnTo>
                    <a:lnTo>
                      <a:pt x="96" y="114"/>
                    </a:lnTo>
                    <a:lnTo>
                      <a:pt x="96" y="105"/>
                    </a:lnTo>
                    <a:lnTo>
                      <a:pt x="79" y="79"/>
                    </a:lnTo>
                    <a:lnTo>
                      <a:pt x="79" y="70"/>
                    </a:lnTo>
                    <a:lnTo>
                      <a:pt x="61" y="53"/>
                    </a:lnTo>
                    <a:lnTo>
                      <a:pt x="44" y="44"/>
                    </a:lnTo>
                    <a:lnTo>
                      <a:pt x="61" y="44"/>
                    </a:lnTo>
                    <a:lnTo>
                      <a:pt x="61" y="26"/>
                    </a:lnTo>
                    <a:lnTo>
                      <a:pt x="35" y="26"/>
                    </a:lnTo>
                    <a:lnTo>
                      <a:pt x="26" y="18"/>
                    </a:lnTo>
                    <a:lnTo>
                      <a:pt x="35" y="18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5" name="Freeform 312"/>
              <p:cNvSpPr>
                <a:spLocks/>
              </p:cNvSpPr>
              <p:nvPr/>
            </p:nvSpPr>
            <p:spPr bwMode="auto">
              <a:xfrm>
                <a:off x="4146700" y="1708097"/>
                <a:ext cx="74990" cy="84599"/>
              </a:xfrm>
              <a:custGeom>
                <a:avLst/>
                <a:gdLst>
                  <a:gd name="T0" fmla="*/ 2147483647 w 70"/>
                  <a:gd name="T1" fmla="*/ 2147483647 h 79"/>
                  <a:gd name="T2" fmla="*/ 2147483647 w 70"/>
                  <a:gd name="T3" fmla="*/ 2147483647 h 79"/>
                  <a:gd name="T4" fmla="*/ 0 w 70"/>
                  <a:gd name="T5" fmla="*/ 2147483647 h 79"/>
                  <a:gd name="T6" fmla="*/ 2147483647 w 70"/>
                  <a:gd name="T7" fmla="*/ 2147483647 h 79"/>
                  <a:gd name="T8" fmla="*/ 2147483647 w 70"/>
                  <a:gd name="T9" fmla="*/ 2147483647 h 79"/>
                  <a:gd name="T10" fmla="*/ 2147483647 w 70"/>
                  <a:gd name="T11" fmla="*/ 2147483647 h 79"/>
                  <a:gd name="T12" fmla="*/ 2147483647 w 70"/>
                  <a:gd name="T13" fmla="*/ 2147483647 h 79"/>
                  <a:gd name="T14" fmla="*/ 2147483647 w 70"/>
                  <a:gd name="T15" fmla="*/ 2147483647 h 79"/>
                  <a:gd name="T16" fmla="*/ 2147483647 w 70"/>
                  <a:gd name="T17" fmla="*/ 2147483647 h 79"/>
                  <a:gd name="T18" fmla="*/ 2147483647 w 70"/>
                  <a:gd name="T19" fmla="*/ 0 h 79"/>
                  <a:gd name="T20" fmla="*/ 2147483647 w 70"/>
                  <a:gd name="T21" fmla="*/ 2147483647 h 79"/>
                  <a:gd name="T22" fmla="*/ 2147483647 w 70"/>
                  <a:gd name="T23" fmla="*/ 2147483647 h 79"/>
                  <a:gd name="T24" fmla="*/ 2147483647 w 70"/>
                  <a:gd name="T25" fmla="*/ 2147483647 h 79"/>
                  <a:gd name="T26" fmla="*/ 2147483647 w 70"/>
                  <a:gd name="T27" fmla="*/ 2147483647 h 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70"/>
                  <a:gd name="T43" fmla="*/ 0 h 79"/>
                  <a:gd name="T44" fmla="*/ 70 w 70"/>
                  <a:gd name="T45" fmla="*/ 79 h 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70" h="79">
                    <a:moveTo>
                      <a:pt x="9" y="35"/>
                    </a:moveTo>
                    <a:lnTo>
                      <a:pt x="18" y="44"/>
                    </a:lnTo>
                    <a:lnTo>
                      <a:pt x="0" y="61"/>
                    </a:lnTo>
                    <a:lnTo>
                      <a:pt x="18" y="79"/>
                    </a:lnTo>
                    <a:lnTo>
                      <a:pt x="44" y="79"/>
                    </a:lnTo>
                    <a:lnTo>
                      <a:pt x="70" y="53"/>
                    </a:lnTo>
                    <a:lnTo>
                      <a:pt x="70" y="35"/>
                    </a:lnTo>
                    <a:lnTo>
                      <a:pt x="52" y="26"/>
                    </a:lnTo>
                    <a:lnTo>
                      <a:pt x="61" y="9"/>
                    </a:lnTo>
                    <a:lnTo>
                      <a:pt x="61" y="0"/>
                    </a:lnTo>
                    <a:lnTo>
                      <a:pt x="44" y="9"/>
                    </a:lnTo>
                    <a:lnTo>
                      <a:pt x="35" y="26"/>
                    </a:lnTo>
                    <a:lnTo>
                      <a:pt x="18" y="26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6" name="Freeform 489"/>
              <p:cNvSpPr>
                <a:spLocks/>
              </p:cNvSpPr>
              <p:nvPr/>
            </p:nvSpPr>
            <p:spPr bwMode="auto">
              <a:xfrm>
                <a:off x="4455231" y="2062554"/>
                <a:ext cx="65349" cy="149921"/>
              </a:xfrm>
              <a:custGeom>
                <a:avLst/>
                <a:gdLst>
                  <a:gd name="T0" fmla="*/ 2147483647 w 61"/>
                  <a:gd name="T1" fmla="*/ 2147483647 h 140"/>
                  <a:gd name="T2" fmla="*/ 2147483647 w 61"/>
                  <a:gd name="T3" fmla="*/ 2147483647 h 140"/>
                  <a:gd name="T4" fmla="*/ 2147483647 w 61"/>
                  <a:gd name="T5" fmla="*/ 0 h 140"/>
                  <a:gd name="T6" fmla="*/ 0 w 61"/>
                  <a:gd name="T7" fmla="*/ 2147483647 h 140"/>
                  <a:gd name="T8" fmla="*/ 2147483647 w 61"/>
                  <a:gd name="T9" fmla="*/ 2147483647 h 140"/>
                  <a:gd name="T10" fmla="*/ 2147483647 w 61"/>
                  <a:gd name="T11" fmla="*/ 2147483647 h 140"/>
                  <a:gd name="T12" fmla="*/ 2147483647 w 61"/>
                  <a:gd name="T13" fmla="*/ 2147483647 h 140"/>
                  <a:gd name="T14" fmla="*/ 2147483647 w 61"/>
                  <a:gd name="T15" fmla="*/ 2147483647 h 140"/>
                  <a:gd name="T16" fmla="*/ 2147483647 w 61"/>
                  <a:gd name="T17" fmla="*/ 2147483647 h 140"/>
                  <a:gd name="T18" fmla="*/ 2147483647 w 61"/>
                  <a:gd name="T19" fmla="*/ 2147483647 h 140"/>
                  <a:gd name="T20" fmla="*/ 2147483647 w 61"/>
                  <a:gd name="T21" fmla="*/ 2147483647 h 140"/>
                  <a:gd name="T22" fmla="*/ 2147483647 w 61"/>
                  <a:gd name="T23" fmla="*/ 2147483647 h 140"/>
                  <a:gd name="T24" fmla="*/ 2147483647 w 61"/>
                  <a:gd name="T25" fmla="*/ 2147483647 h 1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1"/>
                  <a:gd name="T40" fmla="*/ 0 h 140"/>
                  <a:gd name="T41" fmla="*/ 61 w 61"/>
                  <a:gd name="T42" fmla="*/ 140 h 14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1" h="140">
                    <a:moveTo>
                      <a:pt x="35" y="27"/>
                    </a:moveTo>
                    <a:lnTo>
                      <a:pt x="35" y="18"/>
                    </a:lnTo>
                    <a:lnTo>
                      <a:pt x="17" y="0"/>
                    </a:lnTo>
                    <a:lnTo>
                      <a:pt x="0" y="70"/>
                    </a:lnTo>
                    <a:lnTo>
                      <a:pt x="26" y="140"/>
                    </a:lnTo>
                    <a:lnTo>
                      <a:pt x="43" y="123"/>
                    </a:lnTo>
                    <a:lnTo>
                      <a:pt x="43" y="105"/>
                    </a:lnTo>
                    <a:lnTo>
                      <a:pt x="52" y="96"/>
                    </a:lnTo>
                    <a:lnTo>
                      <a:pt x="61" y="79"/>
                    </a:lnTo>
                    <a:lnTo>
                      <a:pt x="26" y="61"/>
                    </a:lnTo>
                    <a:lnTo>
                      <a:pt x="35" y="44"/>
                    </a:lnTo>
                    <a:lnTo>
                      <a:pt x="26" y="27"/>
                    </a:lnTo>
                    <a:lnTo>
                      <a:pt x="35" y="27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7" name="Freeform 491"/>
              <p:cNvSpPr>
                <a:spLocks/>
              </p:cNvSpPr>
              <p:nvPr/>
            </p:nvSpPr>
            <p:spPr bwMode="auto">
              <a:xfrm>
                <a:off x="4165983" y="2062554"/>
                <a:ext cx="364237" cy="364094"/>
              </a:xfrm>
              <a:custGeom>
                <a:avLst/>
                <a:gdLst>
                  <a:gd name="T0" fmla="*/ 2147483647 w 340"/>
                  <a:gd name="T1" fmla="*/ 2147483647 h 340"/>
                  <a:gd name="T2" fmla="*/ 2147483647 w 340"/>
                  <a:gd name="T3" fmla="*/ 2147483647 h 340"/>
                  <a:gd name="T4" fmla="*/ 2147483647 w 340"/>
                  <a:gd name="T5" fmla="*/ 2147483647 h 340"/>
                  <a:gd name="T6" fmla="*/ 2147483647 w 340"/>
                  <a:gd name="T7" fmla="*/ 2147483647 h 340"/>
                  <a:gd name="T8" fmla="*/ 2147483647 w 340"/>
                  <a:gd name="T9" fmla="*/ 2147483647 h 340"/>
                  <a:gd name="T10" fmla="*/ 2147483647 w 340"/>
                  <a:gd name="T11" fmla="*/ 0 h 340"/>
                  <a:gd name="T12" fmla="*/ 2147483647 w 340"/>
                  <a:gd name="T13" fmla="*/ 2147483647 h 340"/>
                  <a:gd name="T14" fmla="*/ 2147483647 w 340"/>
                  <a:gd name="T15" fmla="*/ 2147483647 h 340"/>
                  <a:gd name="T16" fmla="*/ 2147483647 w 340"/>
                  <a:gd name="T17" fmla="*/ 2147483647 h 340"/>
                  <a:gd name="T18" fmla="*/ 2147483647 w 340"/>
                  <a:gd name="T19" fmla="*/ 2147483647 h 340"/>
                  <a:gd name="T20" fmla="*/ 2147483647 w 340"/>
                  <a:gd name="T21" fmla="*/ 2147483647 h 340"/>
                  <a:gd name="T22" fmla="*/ 2147483647 w 340"/>
                  <a:gd name="T23" fmla="*/ 2147483647 h 340"/>
                  <a:gd name="T24" fmla="*/ 2147483647 w 340"/>
                  <a:gd name="T25" fmla="*/ 2147483647 h 340"/>
                  <a:gd name="T26" fmla="*/ 2147483647 w 340"/>
                  <a:gd name="T27" fmla="*/ 2147483647 h 340"/>
                  <a:gd name="T28" fmla="*/ 2147483647 w 340"/>
                  <a:gd name="T29" fmla="*/ 2147483647 h 340"/>
                  <a:gd name="T30" fmla="*/ 2147483647 w 340"/>
                  <a:gd name="T31" fmla="*/ 2147483647 h 340"/>
                  <a:gd name="T32" fmla="*/ 0 w 340"/>
                  <a:gd name="T33" fmla="*/ 2147483647 h 340"/>
                  <a:gd name="T34" fmla="*/ 0 w 340"/>
                  <a:gd name="T35" fmla="*/ 2147483647 h 340"/>
                  <a:gd name="T36" fmla="*/ 2147483647 w 340"/>
                  <a:gd name="T37" fmla="*/ 2147483647 h 340"/>
                  <a:gd name="T38" fmla="*/ 2147483647 w 340"/>
                  <a:gd name="T39" fmla="*/ 2147483647 h 340"/>
                  <a:gd name="T40" fmla="*/ 2147483647 w 340"/>
                  <a:gd name="T41" fmla="*/ 2147483647 h 340"/>
                  <a:gd name="T42" fmla="*/ 2147483647 w 340"/>
                  <a:gd name="T43" fmla="*/ 2147483647 h 340"/>
                  <a:gd name="T44" fmla="*/ 2147483647 w 340"/>
                  <a:gd name="T45" fmla="*/ 2147483647 h 340"/>
                  <a:gd name="T46" fmla="*/ 2147483647 w 340"/>
                  <a:gd name="T47" fmla="*/ 2147483647 h 340"/>
                  <a:gd name="T48" fmla="*/ 2147483647 w 340"/>
                  <a:gd name="T49" fmla="*/ 2147483647 h 34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40"/>
                  <a:gd name="T76" fmla="*/ 0 h 340"/>
                  <a:gd name="T77" fmla="*/ 340 w 340"/>
                  <a:gd name="T78" fmla="*/ 340 h 34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40" h="340">
                    <a:moveTo>
                      <a:pt x="340" y="253"/>
                    </a:moveTo>
                    <a:lnTo>
                      <a:pt x="340" y="245"/>
                    </a:lnTo>
                    <a:lnTo>
                      <a:pt x="305" y="236"/>
                    </a:lnTo>
                    <a:lnTo>
                      <a:pt x="296" y="140"/>
                    </a:lnTo>
                    <a:lnTo>
                      <a:pt x="270" y="70"/>
                    </a:lnTo>
                    <a:lnTo>
                      <a:pt x="287" y="0"/>
                    </a:lnTo>
                    <a:lnTo>
                      <a:pt x="174" y="18"/>
                    </a:lnTo>
                    <a:lnTo>
                      <a:pt x="104" y="35"/>
                    </a:lnTo>
                    <a:lnTo>
                      <a:pt x="104" y="53"/>
                    </a:lnTo>
                    <a:lnTo>
                      <a:pt x="122" y="53"/>
                    </a:lnTo>
                    <a:lnTo>
                      <a:pt x="122" y="88"/>
                    </a:lnTo>
                    <a:lnTo>
                      <a:pt x="130" y="88"/>
                    </a:lnTo>
                    <a:lnTo>
                      <a:pt x="130" y="105"/>
                    </a:lnTo>
                    <a:lnTo>
                      <a:pt x="104" y="96"/>
                    </a:lnTo>
                    <a:lnTo>
                      <a:pt x="52" y="149"/>
                    </a:lnTo>
                    <a:lnTo>
                      <a:pt x="26" y="149"/>
                    </a:lnTo>
                    <a:lnTo>
                      <a:pt x="0" y="166"/>
                    </a:lnTo>
                    <a:lnTo>
                      <a:pt x="0" y="184"/>
                    </a:lnTo>
                    <a:lnTo>
                      <a:pt x="69" y="236"/>
                    </a:lnTo>
                    <a:lnTo>
                      <a:pt x="165" y="297"/>
                    </a:lnTo>
                    <a:lnTo>
                      <a:pt x="165" y="314"/>
                    </a:lnTo>
                    <a:lnTo>
                      <a:pt x="218" y="340"/>
                    </a:lnTo>
                    <a:lnTo>
                      <a:pt x="226" y="332"/>
                    </a:lnTo>
                    <a:lnTo>
                      <a:pt x="235" y="340"/>
                    </a:lnTo>
                    <a:lnTo>
                      <a:pt x="340" y="25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28" name="Gruppieren 27"/>
              <p:cNvGrpSpPr/>
              <p:nvPr/>
            </p:nvGrpSpPr>
            <p:grpSpPr>
              <a:xfrm>
                <a:off x="4146700" y="1288318"/>
                <a:ext cx="3194578" cy="2398741"/>
                <a:chOff x="4146700" y="1288318"/>
                <a:chExt cx="3194578" cy="2398741"/>
              </a:xfrm>
              <a:grpFill/>
            </p:grpSpPr>
            <p:sp>
              <p:nvSpPr>
                <p:cNvPr id="148" name="Freeform 307"/>
                <p:cNvSpPr>
                  <a:spLocks/>
                </p:cNvSpPr>
                <p:nvPr/>
              </p:nvSpPr>
              <p:spPr bwMode="auto">
                <a:xfrm>
                  <a:off x="4212048" y="1642775"/>
                  <a:ext cx="130698" cy="177764"/>
                </a:xfrm>
                <a:custGeom>
                  <a:avLst/>
                  <a:gdLst>
                    <a:gd name="T0" fmla="*/ 2147483647 w 122"/>
                    <a:gd name="T1" fmla="*/ 0 h 166"/>
                    <a:gd name="T2" fmla="*/ 2147483647 w 122"/>
                    <a:gd name="T3" fmla="*/ 2147483647 h 166"/>
                    <a:gd name="T4" fmla="*/ 0 w 122"/>
                    <a:gd name="T5" fmla="*/ 2147483647 h 166"/>
                    <a:gd name="T6" fmla="*/ 2147483647 w 122"/>
                    <a:gd name="T7" fmla="*/ 2147483647 h 166"/>
                    <a:gd name="T8" fmla="*/ 2147483647 w 122"/>
                    <a:gd name="T9" fmla="*/ 2147483647 h 166"/>
                    <a:gd name="T10" fmla="*/ 2147483647 w 122"/>
                    <a:gd name="T11" fmla="*/ 2147483647 h 166"/>
                    <a:gd name="T12" fmla="*/ 2147483647 w 122"/>
                    <a:gd name="T13" fmla="*/ 2147483647 h 166"/>
                    <a:gd name="T14" fmla="*/ 2147483647 w 122"/>
                    <a:gd name="T15" fmla="*/ 2147483647 h 166"/>
                    <a:gd name="T16" fmla="*/ 2147483647 w 122"/>
                    <a:gd name="T17" fmla="*/ 2147483647 h 166"/>
                    <a:gd name="T18" fmla="*/ 2147483647 w 122"/>
                    <a:gd name="T19" fmla="*/ 2147483647 h 166"/>
                    <a:gd name="T20" fmla="*/ 2147483647 w 122"/>
                    <a:gd name="T21" fmla="*/ 2147483647 h 166"/>
                    <a:gd name="T22" fmla="*/ 2147483647 w 122"/>
                    <a:gd name="T23" fmla="*/ 2147483647 h 166"/>
                    <a:gd name="T24" fmla="*/ 2147483647 w 122"/>
                    <a:gd name="T25" fmla="*/ 2147483647 h 166"/>
                    <a:gd name="T26" fmla="*/ 2147483647 w 122"/>
                    <a:gd name="T27" fmla="*/ 2147483647 h 166"/>
                    <a:gd name="T28" fmla="*/ 2147483647 w 122"/>
                    <a:gd name="T29" fmla="*/ 2147483647 h 166"/>
                    <a:gd name="T30" fmla="*/ 2147483647 w 122"/>
                    <a:gd name="T31" fmla="*/ 2147483647 h 166"/>
                    <a:gd name="T32" fmla="*/ 2147483647 w 122"/>
                    <a:gd name="T33" fmla="*/ 2147483647 h 166"/>
                    <a:gd name="T34" fmla="*/ 2147483647 w 122"/>
                    <a:gd name="T35" fmla="*/ 2147483647 h 166"/>
                    <a:gd name="T36" fmla="*/ 2147483647 w 122"/>
                    <a:gd name="T37" fmla="*/ 2147483647 h 166"/>
                    <a:gd name="T38" fmla="*/ 2147483647 w 122"/>
                    <a:gd name="T39" fmla="*/ 2147483647 h 166"/>
                    <a:gd name="T40" fmla="*/ 2147483647 w 122"/>
                    <a:gd name="T41" fmla="*/ 2147483647 h 166"/>
                    <a:gd name="T42" fmla="*/ 2147483647 w 122"/>
                    <a:gd name="T43" fmla="*/ 2147483647 h 166"/>
                    <a:gd name="T44" fmla="*/ 2147483647 w 122"/>
                    <a:gd name="T45" fmla="*/ 2147483647 h 166"/>
                    <a:gd name="T46" fmla="*/ 2147483647 w 122"/>
                    <a:gd name="T47" fmla="*/ 2147483647 h 166"/>
                    <a:gd name="T48" fmla="*/ 2147483647 w 122"/>
                    <a:gd name="T49" fmla="*/ 2147483647 h 166"/>
                    <a:gd name="T50" fmla="*/ 2147483647 w 122"/>
                    <a:gd name="T51" fmla="*/ 2147483647 h 166"/>
                    <a:gd name="T52" fmla="*/ 2147483647 w 122"/>
                    <a:gd name="T53" fmla="*/ 2147483647 h 166"/>
                    <a:gd name="T54" fmla="*/ 2147483647 w 122"/>
                    <a:gd name="T55" fmla="*/ 2147483647 h 166"/>
                    <a:gd name="T56" fmla="*/ 2147483647 w 122"/>
                    <a:gd name="T57" fmla="*/ 2147483647 h 166"/>
                    <a:gd name="T58" fmla="*/ 2147483647 w 122"/>
                    <a:gd name="T59" fmla="*/ 2147483647 h 166"/>
                    <a:gd name="T60" fmla="*/ 2147483647 w 122"/>
                    <a:gd name="T61" fmla="*/ 2147483647 h 166"/>
                    <a:gd name="T62" fmla="*/ 2147483647 w 122"/>
                    <a:gd name="T63" fmla="*/ 2147483647 h 166"/>
                    <a:gd name="T64" fmla="*/ 2147483647 w 122"/>
                    <a:gd name="T65" fmla="*/ 2147483647 h 166"/>
                    <a:gd name="T66" fmla="*/ 2147483647 w 122"/>
                    <a:gd name="T67" fmla="*/ 0 h 1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22"/>
                    <a:gd name="T103" fmla="*/ 0 h 166"/>
                    <a:gd name="T104" fmla="*/ 122 w 122"/>
                    <a:gd name="T105" fmla="*/ 166 h 16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22" h="166">
                      <a:moveTo>
                        <a:pt x="9" y="0"/>
                      </a:move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9" y="26"/>
                      </a:lnTo>
                      <a:lnTo>
                        <a:pt x="9" y="53"/>
                      </a:lnTo>
                      <a:lnTo>
                        <a:pt x="9" y="61"/>
                      </a:lnTo>
                      <a:lnTo>
                        <a:pt x="26" y="61"/>
                      </a:lnTo>
                      <a:lnTo>
                        <a:pt x="26" y="79"/>
                      </a:lnTo>
                      <a:lnTo>
                        <a:pt x="53" y="87"/>
                      </a:lnTo>
                      <a:lnTo>
                        <a:pt x="53" y="96"/>
                      </a:lnTo>
                      <a:lnTo>
                        <a:pt x="26" y="114"/>
                      </a:lnTo>
                      <a:lnTo>
                        <a:pt x="26" y="131"/>
                      </a:lnTo>
                      <a:lnTo>
                        <a:pt x="53" y="140"/>
                      </a:lnTo>
                      <a:lnTo>
                        <a:pt x="18" y="148"/>
                      </a:lnTo>
                      <a:lnTo>
                        <a:pt x="9" y="166"/>
                      </a:lnTo>
                      <a:lnTo>
                        <a:pt x="53" y="148"/>
                      </a:lnTo>
                      <a:lnTo>
                        <a:pt x="96" y="148"/>
                      </a:lnTo>
                      <a:lnTo>
                        <a:pt x="105" y="140"/>
                      </a:lnTo>
                      <a:lnTo>
                        <a:pt x="105" y="131"/>
                      </a:lnTo>
                      <a:lnTo>
                        <a:pt x="122" y="122"/>
                      </a:lnTo>
                      <a:lnTo>
                        <a:pt x="122" y="114"/>
                      </a:lnTo>
                      <a:lnTo>
                        <a:pt x="105" y="114"/>
                      </a:lnTo>
                      <a:lnTo>
                        <a:pt x="96" y="114"/>
                      </a:lnTo>
                      <a:lnTo>
                        <a:pt x="96" y="105"/>
                      </a:lnTo>
                      <a:lnTo>
                        <a:pt x="79" y="79"/>
                      </a:lnTo>
                      <a:lnTo>
                        <a:pt x="79" y="70"/>
                      </a:lnTo>
                      <a:lnTo>
                        <a:pt x="61" y="53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61" y="26"/>
                      </a:lnTo>
                      <a:lnTo>
                        <a:pt x="35" y="26"/>
                      </a:lnTo>
                      <a:lnTo>
                        <a:pt x="26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49" name="Freeform 311"/>
                <p:cNvSpPr>
                  <a:spLocks/>
                </p:cNvSpPr>
                <p:nvPr/>
              </p:nvSpPr>
              <p:spPr bwMode="auto">
                <a:xfrm>
                  <a:off x="4146700" y="1708098"/>
                  <a:ext cx="74990" cy="84599"/>
                </a:xfrm>
                <a:custGeom>
                  <a:avLst/>
                  <a:gdLst>
                    <a:gd name="T0" fmla="*/ 2147483647 w 70"/>
                    <a:gd name="T1" fmla="*/ 2147483647 h 79"/>
                    <a:gd name="T2" fmla="*/ 2147483647 w 70"/>
                    <a:gd name="T3" fmla="*/ 2147483647 h 79"/>
                    <a:gd name="T4" fmla="*/ 0 w 70"/>
                    <a:gd name="T5" fmla="*/ 2147483647 h 79"/>
                    <a:gd name="T6" fmla="*/ 2147483647 w 70"/>
                    <a:gd name="T7" fmla="*/ 2147483647 h 79"/>
                    <a:gd name="T8" fmla="*/ 2147483647 w 70"/>
                    <a:gd name="T9" fmla="*/ 2147483647 h 79"/>
                    <a:gd name="T10" fmla="*/ 2147483647 w 70"/>
                    <a:gd name="T11" fmla="*/ 2147483647 h 79"/>
                    <a:gd name="T12" fmla="*/ 2147483647 w 70"/>
                    <a:gd name="T13" fmla="*/ 2147483647 h 79"/>
                    <a:gd name="T14" fmla="*/ 2147483647 w 70"/>
                    <a:gd name="T15" fmla="*/ 2147483647 h 79"/>
                    <a:gd name="T16" fmla="*/ 2147483647 w 70"/>
                    <a:gd name="T17" fmla="*/ 2147483647 h 79"/>
                    <a:gd name="T18" fmla="*/ 2147483647 w 70"/>
                    <a:gd name="T19" fmla="*/ 0 h 79"/>
                    <a:gd name="T20" fmla="*/ 2147483647 w 70"/>
                    <a:gd name="T21" fmla="*/ 2147483647 h 79"/>
                    <a:gd name="T22" fmla="*/ 2147483647 w 70"/>
                    <a:gd name="T23" fmla="*/ 2147483647 h 79"/>
                    <a:gd name="T24" fmla="*/ 2147483647 w 70"/>
                    <a:gd name="T25" fmla="*/ 2147483647 h 79"/>
                    <a:gd name="T26" fmla="*/ 2147483647 w 70"/>
                    <a:gd name="T27" fmla="*/ 2147483647 h 7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0"/>
                    <a:gd name="T43" fmla="*/ 0 h 79"/>
                    <a:gd name="T44" fmla="*/ 70 w 70"/>
                    <a:gd name="T45" fmla="*/ 79 h 7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0" h="79">
                      <a:moveTo>
                        <a:pt x="9" y="35"/>
                      </a:moveTo>
                      <a:lnTo>
                        <a:pt x="18" y="44"/>
                      </a:lnTo>
                      <a:lnTo>
                        <a:pt x="0" y="61"/>
                      </a:lnTo>
                      <a:lnTo>
                        <a:pt x="18" y="79"/>
                      </a:lnTo>
                      <a:lnTo>
                        <a:pt x="44" y="79"/>
                      </a:lnTo>
                      <a:lnTo>
                        <a:pt x="70" y="53"/>
                      </a:lnTo>
                      <a:lnTo>
                        <a:pt x="70" y="35"/>
                      </a:lnTo>
                      <a:lnTo>
                        <a:pt x="52" y="26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35" y="26"/>
                      </a:lnTo>
                      <a:lnTo>
                        <a:pt x="18" y="26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0" name="Freeform 8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1" name="Freeform 9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2" name="Freeform 10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3" name="Freeform 11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4" name="Freeform 12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5" name="Freeform 13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6" name="Freeform 14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7" name="Freeform 15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8" name="Freeform 16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9" name="Freeform 17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0" name="Freeform 148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1" name="Freeform 149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2" name="Freeform 150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3" name="Freeform 151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4" name="Freeform 152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5" name="Freeform 153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6" name="Freeform 160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7" name="Freeform 161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8" name="Freeform 162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9" name="Freeform 163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0" name="Freeform 164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1" name="Freeform 165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2" name="Freeform 166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3" name="Freeform 167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4" name="Freeform 168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5" name="Freeform 169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6" name="Freeform 170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7" name="Freeform 171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8" name="Freeform 172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9" name="Freeform 173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0" name="Freeform 174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1" name="Freeform 175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2" name="Freeform 176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3" name="Freeform 177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4" name="Rectangle 178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5" name="Rectangle 179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6" name="Freeform 180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7" name="Freeform 181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8" name="Freeform 182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9" name="Freeform 183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0" name="Freeform 184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1" name="Freeform 185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2" name="Freeform 186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3" name="Freeform 187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4" name="Freeform 188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5" name="Freeform 189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6" name="Freeform 190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7" name="Freeform 191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8" name="Freeform 192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9" name="Freeform 193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0" name="Rectangle 194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1" name="Rectangle 195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2" name="Rectangle 196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3" name="Rectangle 197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4" name="Freeform 198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5" name="Freeform 199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6" name="Freeform 200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7" name="Freeform 201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8" name="Freeform 202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9" name="Freeform 203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0" name="Freeform 204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1" name="Freeform 205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2" name="Freeform 207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3" name="Freeform 208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4" name="Freeform 209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5" name="Freeform 210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6" name="Freeform 211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7" name="Freeform 212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8" name="Freeform 213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9" name="Freeform 214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0" name="Freeform 215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1" name="Freeform 216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2" name="Freeform 217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3" name="Freeform 218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4" name="Freeform 219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5" name="Freeform 220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6" name="Freeform 221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7" name="Freeform 222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8" name="Freeform 223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9" name="Freeform 224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0" name="Freeform 225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1" name="Freeform 226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2" name="Freeform 227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3" name="Freeform 228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4" name="Freeform 229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5" name="Freeform 230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6" name="Freeform 231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7" name="Freeform 232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8" name="Freeform 233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9" name="Freeform 234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0" name="Freeform 235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1" name="Freeform 236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2" name="Freeform 237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3" name="Freeform 238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4" name="Freeform 239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5" name="Freeform 240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6" name="Freeform 241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7" name="Freeform 242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8" name="Freeform 243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9" name="Freeform 244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0" name="Freeform 245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1" name="Freeform 246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2" name="Freeform 247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3" name="Freeform 248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4" name="Freeform 249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5" name="Freeform 250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6" name="Freeform 251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7" name="Freeform 252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8" name="Freeform 253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9" name="Freeform 254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0" name="Freeform 255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1" name="Freeform 256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2" name="Freeform 257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3" name="Freeform 258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4" name="Freeform 259"/>
                <p:cNvSpPr>
                  <a:spLocks/>
                </p:cNvSpPr>
                <p:nvPr/>
              </p:nvSpPr>
              <p:spPr bwMode="auto">
                <a:xfrm>
                  <a:off x="4427377" y="1680256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5" name="Freeform 260"/>
                <p:cNvSpPr>
                  <a:spLocks/>
                </p:cNvSpPr>
                <p:nvPr/>
              </p:nvSpPr>
              <p:spPr bwMode="auto">
                <a:xfrm>
                  <a:off x="4427377" y="1680257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6" name="Freeform 261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7" name="Freeform 262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8" name="Freeform 263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9" name="Freeform 264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0" name="Freeform 265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1" name="Freeform 266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2" name="Freeform 267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3" name="Freeform 268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4" name="Freeform 269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5" name="Freeform 270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6" name="Freeform 271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7" name="Freeform 272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8" name="Freeform 273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9" name="Freeform 274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0" name="Freeform 275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1" name="Freeform 276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2" name="Freeform 277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3" name="Freeform 278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4" name="Freeform 279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5" name="Freeform 280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6" name="Freeform 281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7" name="Freeform 282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8" name="Freeform 283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9" name="Freeform 284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0" name="Freeform 285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1" name="Freeform 286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2" name="Freeform 287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3" name="Freeform 288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4" name="Freeform 289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5" name="Freeform 290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6" name="Freeform 291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7" name="Freeform 292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8" name="Freeform 293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9" name="Freeform 294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0" name="Freeform 301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1" name="Freeform 302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2" name="Freeform 303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3" name="Freeform 304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4" name="Freeform 305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5" name="Freeform 306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6" name="Freeform 309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7" name="Freeform 310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8" name="Freeform 313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9" name="Freeform 314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0" name="Freeform 315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1" name="Freeform 316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2" name="Freeform 317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3" name="Freeform 318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4" name="Freeform 319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5" name="Freeform 320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6" name="Freeform 321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7" name="Freeform 322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8" name="Freeform 323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9" name="Freeform 324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0" name="Freeform 325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1" name="Freeform 326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2" name="Freeform 327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3" name="Freeform 328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4" name="Freeform 329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5" name="Freeform 330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6" name="Freeform 331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7" name="Freeform 332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8" name="Freeform 333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9" name="Freeform 334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0" name="Freeform 335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1" name="Freeform 336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2" name="Freeform 337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3" name="Freeform 338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4" name="Freeform 339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5" name="Freeform 340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6" name="Freeform 341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7" name="Freeform 342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8" name="Freeform 343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9" name="Freeform 344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0" name="Freeform 345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1" name="Freeform 346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2" name="Freeform 347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3" name="Freeform 348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4" name="Rectangle 349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5" name="Rectangle 350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6" name="Freeform 351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7" name="Freeform 352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8" name="Freeform 353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9" name="Freeform 354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0" name="Freeform 355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1" name="Freeform 356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2" name="Freeform 357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3" name="Freeform 358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4" name="Freeform 359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5" name="Freeform 360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6" name="Freeform 361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7" name="Freeform 362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8" name="Freeform 363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9" name="Freeform 364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0" name="Freeform 365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1" name="Freeform 366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2" name="Freeform 367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3" name="Freeform 368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4" name="Freeform 369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5" name="Freeform 370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6" name="Freeform 371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7" name="Freeform 372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8" name="Freeform 373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9" name="Freeform 374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0" name="Freeform 375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1" name="Freeform 376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2" name="Freeform 377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3" name="Freeform 378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4" name="Freeform 379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5" name="Freeform 380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6" name="Freeform 381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7" name="Freeform 382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8" name="Freeform 383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9" name="Freeform 384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0" name="Freeform 385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1" name="Freeform 386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2" name="Freeform 387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3" name="Freeform 388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4" name="Freeform 389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5" name="Freeform 390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6" name="Freeform 391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7" name="Freeform 392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8" name="Freeform 393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9" name="Freeform 394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0" name="Freeform 395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1" name="Freeform 396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2" name="Freeform 397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3" name="Freeform 398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4" name="Freeform 399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5" name="Freeform 400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6" name="Freeform 401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7" name="Freeform 402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8" name="Freeform 403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9" name="Freeform 404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0" name="Freeform 405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1" name="Freeform 406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2" name="Freeform 408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3" name="Freeform 409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4" name="Freeform 410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5" name="Freeform 411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6" name="Freeform 412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7" name="Freeform 413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8" name="Freeform 414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9" name="Freeform 415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0" name="Freeform 416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1" name="Freeform 417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2" name="Freeform 418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3" name="Freeform 419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4" name="Freeform 420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5" name="Freeform 421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6" name="Freeform 422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7" name="Freeform 423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8" name="Freeform 424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9" name="Freeform 425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0" name="Freeform 426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1" name="Freeform 427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2" name="Freeform 428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3" name="Freeform 429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4" name="Freeform 430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5" name="Freeform 431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6" name="Freeform 432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7" name="Freeform 433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8" name="Freeform 434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9" name="Freeform 435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0" name="Freeform 436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1" name="Freeform 437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2" name="Freeform 438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3" name="Freeform 439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4" name="Freeform 440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5" name="Freeform 441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6" name="Freeform 442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7" name="Freeform 443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8" name="Freeform 444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9" name="Freeform 445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0" name="Freeform 446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1" name="Freeform 447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2" name="Freeform 448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3" name="Freeform 449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4" name="Freeform 450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5" name="Freeform 451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6" name="Freeform 452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7" name="Freeform 453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8" name="Freeform 454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9" name="Freeform 455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0" name="Freeform 456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1" name="Freeform 457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2" name="Freeform 458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3" name="Freeform 459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4" name="Freeform 460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5" name="Freeform 461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6" name="Freeform 462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7" name="Freeform 463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8" name="Freeform 464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9" name="Freeform 465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0" name="Freeform 466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1" name="Freeform 467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2" name="Freeform 468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3" name="Freeform 469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4" name="Freeform 470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5" name="Freeform 471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6" name="Freeform 472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7" name="Freeform 473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8" name="Freeform 474"/>
                <p:cNvSpPr>
                  <a:spLocks/>
                </p:cNvSpPr>
                <p:nvPr/>
              </p:nvSpPr>
              <p:spPr bwMode="auto">
                <a:xfrm>
                  <a:off x="7220221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9" name="Freeform 475"/>
                <p:cNvSpPr>
                  <a:spLocks/>
                </p:cNvSpPr>
                <p:nvPr/>
              </p:nvSpPr>
              <p:spPr bwMode="auto">
                <a:xfrm>
                  <a:off x="7220222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0" name="Freeform 476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1" name="Freeform 477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2" name="Freeform 478"/>
                <p:cNvSpPr>
                  <a:spLocks/>
                </p:cNvSpPr>
                <p:nvPr/>
              </p:nvSpPr>
              <p:spPr bwMode="auto">
                <a:xfrm>
                  <a:off x="7220221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3" name="Freeform 479"/>
                <p:cNvSpPr>
                  <a:spLocks/>
                </p:cNvSpPr>
                <p:nvPr/>
              </p:nvSpPr>
              <p:spPr bwMode="auto">
                <a:xfrm>
                  <a:off x="7220219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4" name="Freeform 480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5" name="Freeform 481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6" name="Freeform 482"/>
                <p:cNvSpPr>
                  <a:spLocks/>
                </p:cNvSpPr>
                <p:nvPr/>
              </p:nvSpPr>
              <p:spPr bwMode="auto">
                <a:xfrm>
                  <a:off x="6444609" y="2034715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7" name="Freeform 483"/>
                <p:cNvSpPr>
                  <a:spLocks/>
                </p:cNvSpPr>
                <p:nvPr/>
              </p:nvSpPr>
              <p:spPr bwMode="auto">
                <a:xfrm>
                  <a:off x="6444607" y="2034716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8" name="Freeform 484"/>
                <p:cNvSpPr>
                  <a:spLocks/>
                </p:cNvSpPr>
                <p:nvPr/>
              </p:nvSpPr>
              <p:spPr bwMode="auto">
                <a:xfrm>
                  <a:off x="6491743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9" name="Freeform 485"/>
                <p:cNvSpPr>
                  <a:spLocks/>
                </p:cNvSpPr>
                <p:nvPr/>
              </p:nvSpPr>
              <p:spPr bwMode="auto">
                <a:xfrm>
                  <a:off x="6491744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0" name="Freeform 486"/>
                <p:cNvSpPr>
                  <a:spLocks/>
                </p:cNvSpPr>
                <p:nvPr/>
              </p:nvSpPr>
              <p:spPr bwMode="auto">
                <a:xfrm>
                  <a:off x="6388900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1" name="Freeform 487"/>
                <p:cNvSpPr>
                  <a:spLocks/>
                </p:cNvSpPr>
                <p:nvPr/>
              </p:nvSpPr>
              <p:spPr bwMode="auto">
                <a:xfrm>
                  <a:off x="6388899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2" name="Freeform 492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3" name="Freeform 493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4" name="Freeform 494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5" name="Freeform 495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6" name="Freeform 496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7" name="Freeform 497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8" name="Freeform 498"/>
                <p:cNvSpPr>
                  <a:spLocks/>
                </p:cNvSpPr>
                <p:nvPr/>
              </p:nvSpPr>
              <p:spPr bwMode="auto">
                <a:xfrm>
                  <a:off x="5221197" y="2287444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9" name="Freeform 499"/>
                <p:cNvSpPr>
                  <a:spLocks/>
                </p:cNvSpPr>
                <p:nvPr/>
              </p:nvSpPr>
              <p:spPr bwMode="auto">
                <a:xfrm>
                  <a:off x="5221197" y="2287442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0" name="Freeform 500"/>
                <p:cNvSpPr>
                  <a:spLocks/>
                </p:cNvSpPr>
                <p:nvPr/>
              </p:nvSpPr>
              <p:spPr bwMode="auto">
                <a:xfrm>
                  <a:off x="5221193" y="2277803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1" name="Freeform 501"/>
                <p:cNvSpPr>
                  <a:spLocks/>
                </p:cNvSpPr>
                <p:nvPr/>
              </p:nvSpPr>
              <p:spPr bwMode="auto">
                <a:xfrm>
                  <a:off x="5221189" y="2277807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2" name="Freeform 502"/>
                <p:cNvSpPr>
                  <a:spLocks/>
                </p:cNvSpPr>
                <p:nvPr/>
              </p:nvSpPr>
              <p:spPr bwMode="auto">
                <a:xfrm>
                  <a:off x="5136562" y="2202846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3" name="Freeform 503"/>
                <p:cNvSpPr>
                  <a:spLocks/>
                </p:cNvSpPr>
                <p:nvPr/>
              </p:nvSpPr>
              <p:spPr bwMode="auto">
                <a:xfrm>
                  <a:off x="5136562" y="2202849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4" name="Freeform 504"/>
                <p:cNvSpPr>
                  <a:spLocks/>
                </p:cNvSpPr>
                <p:nvPr/>
              </p:nvSpPr>
              <p:spPr bwMode="auto">
                <a:xfrm>
                  <a:off x="4931933" y="2147164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5" name="Freeform 505"/>
                <p:cNvSpPr>
                  <a:spLocks/>
                </p:cNvSpPr>
                <p:nvPr/>
              </p:nvSpPr>
              <p:spPr bwMode="auto">
                <a:xfrm>
                  <a:off x="4931932" y="2147166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6" name="Freeform 506"/>
                <p:cNvSpPr>
                  <a:spLocks/>
                </p:cNvSpPr>
                <p:nvPr/>
              </p:nvSpPr>
              <p:spPr bwMode="auto">
                <a:xfrm>
                  <a:off x="4903019" y="2137529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7" name="Freeform 507"/>
                <p:cNvSpPr>
                  <a:spLocks/>
                </p:cNvSpPr>
                <p:nvPr/>
              </p:nvSpPr>
              <p:spPr bwMode="auto">
                <a:xfrm>
                  <a:off x="4903034" y="2137535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8" name="Freeform 508"/>
                <p:cNvSpPr>
                  <a:spLocks/>
                </p:cNvSpPr>
                <p:nvPr/>
              </p:nvSpPr>
              <p:spPr bwMode="auto">
                <a:xfrm>
                  <a:off x="4912708" y="2119319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9" name="Freeform 509"/>
                <p:cNvSpPr>
                  <a:spLocks/>
                </p:cNvSpPr>
                <p:nvPr/>
              </p:nvSpPr>
              <p:spPr bwMode="auto">
                <a:xfrm>
                  <a:off x="4912735" y="2119331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9" name="Freeform 510"/>
              <p:cNvSpPr>
                <a:spLocks/>
              </p:cNvSpPr>
              <p:nvPr/>
            </p:nvSpPr>
            <p:spPr bwMode="auto">
              <a:xfrm>
                <a:off x="3829600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0" name="Freeform 511"/>
              <p:cNvSpPr>
                <a:spLocks/>
              </p:cNvSpPr>
              <p:nvPr/>
            </p:nvSpPr>
            <p:spPr bwMode="auto">
              <a:xfrm>
                <a:off x="3829601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1" name="Freeform 512"/>
              <p:cNvSpPr>
                <a:spLocks/>
              </p:cNvSpPr>
              <p:nvPr/>
            </p:nvSpPr>
            <p:spPr bwMode="auto">
              <a:xfrm>
                <a:off x="3847814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2" name="Freeform 513"/>
              <p:cNvSpPr>
                <a:spLocks/>
              </p:cNvSpPr>
              <p:nvPr/>
            </p:nvSpPr>
            <p:spPr bwMode="auto">
              <a:xfrm>
                <a:off x="3847815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3" name="Freeform 514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4" name="Freeform 515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5" name="Freeform 519"/>
              <p:cNvSpPr>
                <a:spLocks/>
              </p:cNvSpPr>
              <p:nvPr/>
            </p:nvSpPr>
            <p:spPr bwMode="auto">
              <a:xfrm>
                <a:off x="4950170" y="2436284"/>
                <a:ext cx="149980" cy="158488"/>
              </a:xfrm>
              <a:custGeom>
                <a:avLst/>
                <a:gdLst>
                  <a:gd name="T0" fmla="*/ 2147483647 w 140"/>
                  <a:gd name="T1" fmla="*/ 0 h 148"/>
                  <a:gd name="T2" fmla="*/ 2147483647 w 140"/>
                  <a:gd name="T3" fmla="*/ 2147483647 h 148"/>
                  <a:gd name="T4" fmla="*/ 0 w 140"/>
                  <a:gd name="T5" fmla="*/ 2147483647 h 148"/>
                  <a:gd name="T6" fmla="*/ 2147483647 w 140"/>
                  <a:gd name="T7" fmla="*/ 2147483647 h 148"/>
                  <a:gd name="T8" fmla="*/ 2147483647 w 140"/>
                  <a:gd name="T9" fmla="*/ 2147483647 h 148"/>
                  <a:gd name="T10" fmla="*/ 2147483647 w 140"/>
                  <a:gd name="T11" fmla="*/ 2147483647 h 148"/>
                  <a:gd name="T12" fmla="*/ 2147483647 w 140"/>
                  <a:gd name="T13" fmla="*/ 2147483647 h 148"/>
                  <a:gd name="T14" fmla="*/ 2147483647 w 140"/>
                  <a:gd name="T15" fmla="*/ 2147483647 h 148"/>
                  <a:gd name="T16" fmla="*/ 2147483647 w 140"/>
                  <a:gd name="T17" fmla="*/ 0 h 1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0"/>
                  <a:gd name="T28" fmla="*/ 0 h 148"/>
                  <a:gd name="T29" fmla="*/ 140 w 140"/>
                  <a:gd name="T30" fmla="*/ 148 h 1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0" h="148">
                    <a:moveTo>
                      <a:pt x="70" y="0"/>
                    </a:moveTo>
                    <a:lnTo>
                      <a:pt x="9" y="26"/>
                    </a:lnTo>
                    <a:lnTo>
                      <a:pt x="0" y="87"/>
                    </a:lnTo>
                    <a:lnTo>
                      <a:pt x="61" y="87"/>
                    </a:lnTo>
                    <a:lnTo>
                      <a:pt x="105" y="113"/>
                    </a:lnTo>
                    <a:lnTo>
                      <a:pt x="96" y="140"/>
                    </a:lnTo>
                    <a:lnTo>
                      <a:pt x="140" y="148"/>
                    </a:lnTo>
                    <a:lnTo>
                      <a:pt x="78" y="61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6" name="Freeform 530"/>
              <p:cNvSpPr>
                <a:spLocks/>
              </p:cNvSpPr>
              <p:nvPr/>
            </p:nvSpPr>
            <p:spPr bwMode="auto">
              <a:xfrm>
                <a:off x="4706988" y="2352757"/>
                <a:ext cx="298890" cy="372662"/>
              </a:xfrm>
              <a:custGeom>
                <a:avLst/>
                <a:gdLst>
                  <a:gd name="T0" fmla="*/ 2147483647 w 279"/>
                  <a:gd name="T1" fmla="*/ 2147483647 h 348"/>
                  <a:gd name="T2" fmla="*/ 2147483647 w 279"/>
                  <a:gd name="T3" fmla="*/ 2147483647 h 348"/>
                  <a:gd name="T4" fmla="*/ 2147483647 w 279"/>
                  <a:gd name="T5" fmla="*/ 2147483647 h 348"/>
                  <a:gd name="T6" fmla="*/ 2147483647 w 279"/>
                  <a:gd name="T7" fmla="*/ 2147483647 h 348"/>
                  <a:gd name="T8" fmla="*/ 0 w 279"/>
                  <a:gd name="T9" fmla="*/ 2147483647 h 348"/>
                  <a:gd name="T10" fmla="*/ 2147483647 w 279"/>
                  <a:gd name="T11" fmla="*/ 2147483647 h 348"/>
                  <a:gd name="T12" fmla="*/ 2147483647 w 279"/>
                  <a:gd name="T13" fmla="*/ 2147483647 h 348"/>
                  <a:gd name="T14" fmla="*/ 2147483647 w 279"/>
                  <a:gd name="T15" fmla="*/ 2147483647 h 348"/>
                  <a:gd name="T16" fmla="*/ 2147483647 w 279"/>
                  <a:gd name="T17" fmla="*/ 2147483647 h 348"/>
                  <a:gd name="T18" fmla="*/ 2147483647 w 279"/>
                  <a:gd name="T19" fmla="*/ 2147483647 h 348"/>
                  <a:gd name="T20" fmla="*/ 2147483647 w 279"/>
                  <a:gd name="T21" fmla="*/ 2147483647 h 348"/>
                  <a:gd name="T22" fmla="*/ 2147483647 w 279"/>
                  <a:gd name="T23" fmla="*/ 2147483647 h 348"/>
                  <a:gd name="T24" fmla="*/ 2147483647 w 279"/>
                  <a:gd name="T25" fmla="*/ 2147483647 h 348"/>
                  <a:gd name="T26" fmla="*/ 2147483647 w 279"/>
                  <a:gd name="T27" fmla="*/ 2147483647 h 348"/>
                  <a:gd name="T28" fmla="*/ 2147483647 w 279"/>
                  <a:gd name="T29" fmla="*/ 2147483647 h 348"/>
                  <a:gd name="T30" fmla="*/ 2147483647 w 279"/>
                  <a:gd name="T31" fmla="*/ 2147483647 h 348"/>
                  <a:gd name="T32" fmla="*/ 2147483647 w 279"/>
                  <a:gd name="T33" fmla="*/ 2147483647 h 348"/>
                  <a:gd name="T34" fmla="*/ 2147483647 w 279"/>
                  <a:gd name="T35" fmla="*/ 2147483647 h 348"/>
                  <a:gd name="T36" fmla="*/ 2147483647 w 279"/>
                  <a:gd name="T37" fmla="*/ 2147483647 h 348"/>
                  <a:gd name="T38" fmla="*/ 2147483647 w 279"/>
                  <a:gd name="T39" fmla="*/ 2147483647 h 348"/>
                  <a:gd name="T40" fmla="*/ 2147483647 w 279"/>
                  <a:gd name="T41" fmla="*/ 2147483647 h 348"/>
                  <a:gd name="T42" fmla="*/ 2147483647 w 279"/>
                  <a:gd name="T43" fmla="*/ 2147483647 h 348"/>
                  <a:gd name="T44" fmla="*/ 2147483647 w 279"/>
                  <a:gd name="T45" fmla="*/ 2147483647 h 348"/>
                  <a:gd name="T46" fmla="*/ 2147483647 w 279"/>
                  <a:gd name="T47" fmla="*/ 2147483647 h 348"/>
                  <a:gd name="T48" fmla="*/ 2147483647 w 279"/>
                  <a:gd name="T49" fmla="*/ 2147483647 h 348"/>
                  <a:gd name="T50" fmla="*/ 2147483647 w 279"/>
                  <a:gd name="T51" fmla="*/ 2147483647 h 348"/>
                  <a:gd name="T52" fmla="*/ 2147483647 w 279"/>
                  <a:gd name="T53" fmla="*/ 2147483647 h 348"/>
                  <a:gd name="T54" fmla="*/ 2147483647 w 279"/>
                  <a:gd name="T55" fmla="*/ 0 h 348"/>
                  <a:gd name="T56" fmla="*/ 2147483647 w 279"/>
                  <a:gd name="T57" fmla="*/ 2147483647 h 348"/>
                  <a:gd name="T58" fmla="*/ 2147483647 w 279"/>
                  <a:gd name="T59" fmla="*/ 2147483647 h 348"/>
                  <a:gd name="T60" fmla="*/ 2147483647 w 279"/>
                  <a:gd name="T61" fmla="*/ 2147483647 h 34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9"/>
                  <a:gd name="T94" fmla="*/ 0 h 348"/>
                  <a:gd name="T95" fmla="*/ 279 w 279"/>
                  <a:gd name="T96" fmla="*/ 348 h 34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9" h="348">
                    <a:moveTo>
                      <a:pt x="53" y="43"/>
                    </a:moveTo>
                    <a:lnTo>
                      <a:pt x="35" y="52"/>
                    </a:lnTo>
                    <a:lnTo>
                      <a:pt x="35" y="130"/>
                    </a:lnTo>
                    <a:lnTo>
                      <a:pt x="9" y="157"/>
                    </a:lnTo>
                    <a:lnTo>
                      <a:pt x="0" y="183"/>
                    </a:lnTo>
                    <a:lnTo>
                      <a:pt x="44" y="270"/>
                    </a:lnTo>
                    <a:lnTo>
                      <a:pt x="61" y="270"/>
                    </a:lnTo>
                    <a:lnTo>
                      <a:pt x="96" y="313"/>
                    </a:lnTo>
                    <a:lnTo>
                      <a:pt x="96" y="331"/>
                    </a:lnTo>
                    <a:lnTo>
                      <a:pt x="140" y="331"/>
                    </a:lnTo>
                    <a:lnTo>
                      <a:pt x="166" y="348"/>
                    </a:lnTo>
                    <a:lnTo>
                      <a:pt x="218" y="340"/>
                    </a:lnTo>
                    <a:lnTo>
                      <a:pt x="218" y="331"/>
                    </a:lnTo>
                    <a:lnTo>
                      <a:pt x="244" y="331"/>
                    </a:lnTo>
                    <a:lnTo>
                      <a:pt x="236" y="313"/>
                    </a:lnTo>
                    <a:lnTo>
                      <a:pt x="227" y="305"/>
                    </a:lnTo>
                    <a:lnTo>
                      <a:pt x="192" y="279"/>
                    </a:lnTo>
                    <a:lnTo>
                      <a:pt x="183" y="279"/>
                    </a:lnTo>
                    <a:lnTo>
                      <a:pt x="183" y="261"/>
                    </a:lnTo>
                    <a:lnTo>
                      <a:pt x="192" y="261"/>
                    </a:lnTo>
                    <a:lnTo>
                      <a:pt x="201" y="218"/>
                    </a:lnTo>
                    <a:lnTo>
                      <a:pt x="210" y="218"/>
                    </a:lnTo>
                    <a:lnTo>
                      <a:pt x="236" y="165"/>
                    </a:lnTo>
                    <a:lnTo>
                      <a:pt x="244" y="104"/>
                    </a:lnTo>
                    <a:lnTo>
                      <a:pt x="279" y="87"/>
                    </a:lnTo>
                    <a:lnTo>
                      <a:pt x="253" y="61"/>
                    </a:lnTo>
                    <a:lnTo>
                      <a:pt x="244" y="8"/>
                    </a:lnTo>
                    <a:lnTo>
                      <a:pt x="218" y="0"/>
                    </a:lnTo>
                    <a:lnTo>
                      <a:pt x="201" y="17"/>
                    </a:lnTo>
                    <a:lnTo>
                      <a:pt x="53" y="17"/>
                    </a:lnTo>
                    <a:lnTo>
                      <a:pt x="53" y="4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7" name="Freeform 532"/>
              <p:cNvSpPr>
                <a:spLocks/>
              </p:cNvSpPr>
              <p:nvPr/>
            </p:nvSpPr>
            <p:spPr bwMode="auto">
              <a:xfrm>
                <a:off x="4744483" y="2174994"/>
                <a:ext cx="196046" cy="195969"/>
              </a:xfrm>
              <a:custGeom>
                <a:avLst/>
                <a:gdLst>
                  <a:gd name="T0" fmla="*/ 2147483647 w 183"/>
                  <a:gd name="T1" fmla="*/ 2147483647 h 183"/>
                  <a:gd name="T2" fmla="*/ 2147483647 w 183"/>
                  <a:gd name="T3" fmla="*/ 2147483647 h 183"/>
                  <a:gd name="T4" fmla="*/ 2147483647 w 183"/>
                  <a:gd name="T5" fmla="*/ 2147483647 h 183"/>
                  <a:gd name="T6" fmla="*/ 2147483647 w 183"/>
                  <a:gd name="T7" fmla="*/ 2147483647 h 183"/>
                  <a:gd name="T8" fmla="*/ 2147483647 w 183"/>
                  <a:gd name="T9" fmla="*/ 2147483647 h 183"/>
                  <a:gd name="T10" fmla="*/ 2147483647 w 183"/>
                  <a:gd name="T11" fmla="*/ 2147483647 h 183"/>
                  <a:gd name="T12" fmla="*/ 2147483647 w 183"/>
                  <a:gd name="T13" fmla="*/ 0 h 183"/>
                  <a:gd name="T14" fmla="*/ 2147483647 w 183"/>
                  <a:gd name="T15" fmla="*/ 2147483647 h 183"/>
                  <a:gd name="T16" fmla="*/ 2147483647 w 183"/>
                  <a:gd name="T17" fmla="*/ 2147483647 h 183"/>
                  <a:gd name="T18" fmla="*/ 2147483647 w 183"/>
                  <a:gd name="T19" fmla="*/ 2147483647 h 183"/>
                  <a:gd name="T20" fmla="*/ 2147483647 w 183"/>
                  <a:gd name="T21" fmla="*/ 0 h 183"/>
                  <a:gd name="T22" fmla="*/ 0 w 183"/>
                  <a:gd name="T23" fmla="*/ 0 h 183"/>
                  <a:gd name="T24" fmla="*/ 2147483647 w 183"/>
                  <a:gd name="T25" fmla="*/ 2147483647 h 183"/>
                  <a:gd name="T26" fmla="*/ 0 w 183"/>
                  <a:gd name="T27" fmla="*/ 2147483647 h 183"/>
                  <a:gd name="T28" fmla="*/ 2147483647 w 183"/>
                  <a:gd name="T29" fmla="*/ 2147483647 h 183"/>
                  <a:gd name="T30" fmla="*/ 2147483647 w 183"/>
                  <a:gd name="T31" fmla="*/ 2147483647 h 183"/>
                  <a:gd name="T32" fmla="*/ 2147483647 w 183"/>
                  <a:gd name="T33" fmla="*/ 2147483647 h 183"/>
                  <a:gd name="T34" fmla="*/ 2147483647 w 183"/>
                  <a:gd name="T35" fmla="*/ 2147483647 h 183"/>
                  <a:gd name="T36" fmla="*/ 2147483647 w 183"/>
                  <a:gd name="T37" fmla="*/ 2147483647 h 183"/>
                  <a:gd name="T38" fmla="*/ 2147483647 w 183"/>
                  <a:gd name="T39" fmla="*/ 2147483647 h 183"/>
                  <a:gd name="T40" fmla="*/ 2147483647 w 183"/>
                  <a:gd name="T41" fmla="*/ 2147483647 h 183"/>
                  <a:gd name="T42" fmla="*/ 2147483647 w 183"/>
                  <a:gd name="T43" fmla="*/ 2147483647 h 18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83"/>
                  <a:gd name="T67" fmla="*/ 0 h 183"/>
                  <a:gd name="T68" fmla="*/ 183 w 183"/>
                  <a:gd name="T69" fmla="*/ 183 h 18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83" h="183">
                    <a:moveTo>
                      <a:pt x="131" y="52"/>
                    </a:moveTo>
                    <a:lnTo>
                      <a:pt x="122" y="26"/>
                    </a:lnTo>
                    <a:lnTo>
                      <a:pt x="131" y="52"/>
                    </a:lnTo>
                    <a:lnTo>
                      <a:pt x="140" y="52"/>
                    </a:lnTo>
                    <a:lnTo>
                      <a:pt x="157" y="70"/>
                    </a:lnTo>
                    <a:lnTo>
                      <a:pt x="175" y="44"/>
                    </a:lnTo>
                    <a:lnTo>
                      <a:pt x="148" y="0"/>
                    </a:lnTo>
                    <a:lnTo>
                      <a:pt x="122" y="9"/>
                    </a:lnTo>
                    <a:lnTo>
                      <a:pt x="96" y="9"/>
                    </a:lnTo>
                    <a:lnTo>
                      <a:pt x="52" y="18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9" y="26"/>
                    </a:lnTo>
                    <a:lnTo>
                      <a:pt x="0" y="26"/>
                    </a:lnTo>
                    <a:lnTo>
                      <a:pt x="18" y="52"/>
                    </a:lnTo>
                    <a:lnTo>
                      <a:pt x="18" y="183"/>
                    </a:lnTo>
                    <a:lnTo>
                      <a:pt x="166" y="183"/>
                    </a:lnTo>
                    <a:lnTo>
                      <a:pt x="183" y="166"/>
                    </a:lnTo>
                    <a:lnTo>
                      <a:pt x="183" y="140"/>
                    </a:lnTo>
                    <a:lnTo>
                      <a:pt x="157" y="113"/>
                    </a:lnTo>
                    <a:lnTo>
                      <a:pt x="148" y="79"/>
                    </a:lnTo>
                    <a:lnTo>
                      <a:pt x="131" y="52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8" name="Freeform 586"/>
              <p:cNvSpPr>
                <a:spLocks/>
              </p:cNvSpPr>
              <p:nvPr/>
            </p:nvSpPr>
            <p:spPr bwMode="auto">
              <a:xfrm>
                <a:off x="4081355" y="2100033"/>
                <a:ext cx="223900" cy="159559"/>
              </a:xfrm>
              <a:custGeom>
                <a:avLst/>
                <a:gdLst>
                  <a:gd name="T0" fmla="*/ 2147483647 w 209"/>
                  <a:gd name="T1" fmla="*/ 2147483647 h 149"/>
                  <a:gd name="T2" fmla="*/ 2147483647 w 209"/>
                  <a:gd name="T3" fmla="*/ 0 h 149"/>
                  <a:gd name="T4" fmla="*/ 2147483647 w 209"/>
                  <a:gd name="T5" fmla="*/ 0 h 149"/>
                  <a:gd name="T6" fmla="*/ 2147483647 w 209"/>
                  <a:gd name="T7" fmla="*/ 0 h 149"/>
                  <a:gd name="T8" fmla="*/ 2147483647 w 209"/>
                  <a:gd name="T9" fmla="*/ 2147483647 h 149"/>
                  <a:gd name="T10" fmla="*/ 2147483647 w 209"/>
                  <a:gd name="T11" fmla="*/ 2147483647 h 149"/>
                  <a:gd name="T12" fmla="*/ 2147483647 w 209"/>
                  <a:gd name="T13" fmla="*/ 2147483647 h 149"/>
                  <a:gd name="T14" fmla="*/ 2147483647 w 209"/>
                  <a:gd name="T15" fmla="*/ 2147483647 h 149"/>
                  <a:gd name="T16" fmla="*/ 2147483647 w 209"/>
                  <a:gd name="T17" fmla="*/ 2147483647 h 149"/>
                  <a:gd name="T18" fmla="*/ 2147483647 w 209"/>
                  <a:gd name="T19" fmla="*/ 2147483647 h 149"/>
                  <a:gd name="T20" fmla="*/ 2147483647 w 209"/>
                  <a:gd name="T21" fmla="*/ 2147483647 h 149"/>
                  <a:gd name="T22" fmla="*/ 0 w 209"/>
                  <a:gd name="T23" fmla="*/ 2147483647 h 149"/>
                  <a:gd name="T24" fmla="*/ 2147483647 w 209"/>
                  <a:gd name="T25" fmla="*/ 2147483647 h 149"/>
                  <a:gd name="T26" fmla="*/ 2147483647 w 209"/>
                  <a:gd name="T27" fmla="*/ 2147483647 h 149"/>
                  <a:gd name="T28" fmla="*/ 2147483647 w 209"/>
                  <a:gd name="T29" fmla="*/ 2147483647 h 149"/>
                  <a:gd name="T30" fmla="*/ 2147483647 w 209"/>
                  <a:gd name="T31" fmla="*/ 2147483647 h 149"/>
                  <a:gd name="T32" fmla="*/ 2147483647 w 209"/>
                  <a:gd name="T33" fmla="*/ 2147483647 h 149"/>
                  <a:gd name="T34" fmla="*/ 2147483647 w 209"/>
                  <a:gd name="T35" fmla="*/ 2147483647 h 149"/>
                  <a:gd name="T36" fmla="*/ 2147483647 w 209"/>
                  <a:gd name="T37" fmla="*/ 2147483647 h 149"/>
                  <a:gd name="T38" fmla="*/ 2147483647 w 209"/>
                  <a:gd name="T39" fmla="*/ 2147483647 h 149"/>
                  <a:gd name="T40" fmla="*/ 2147483647 w 209"/>
                  <a:gd name="T41" fmla="*/ 2147483647 h 149"/>
                  <a:gd name="T42" fmla="*/ 2147483647 w 209"/>
                  <a:gd name="T43" fmla="*/ 2147483647 h 14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09"/>
                  <a:gd name="T67" fmla="*/ 0 h 149"/>
                  <a:gd name="T68" fmla="*/ 209 w 209"/>
                  <a:gd name="T69" fmla="*/ 149 h 14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09" h="149">
                    <a:moveTo>
                      <a:pt x="183" y="18"/>
                    </a:moveTo>
                    <a:lnTo>
                      <a:pt x="183" y="0"/>
                    </a:lnTo>
                    <a:lnTo>
                      <a:pt x="131" y="0"/>
                    </a:lnTo>
                    <a:lnTo>
                      <a:pt x="105" y="44"/>
                    </a:lnTo>
                    <a:lnTo>
                      <a:pt x="79" y="44"/>
                    </a:lnTo>
                    <a:lnTo>
                      <a:pt x="61" y="53"/>
                    </a:lnTo>
                    <a:lnTo>
                      <a:pt x="61" y="114"/>
                    </a:lnTo>
                    <a:lnTo>
                      <a:pt x="35" y="131"/>
                    </a:lnTo>
                    <a:lnTo>
                      <a:pt x="35" y="140"/>
                    </a:lnTo>
                    <a:lnTo>
                      <a:pt x="0" y="149"/>
                    </a:lnTo>
                    <a:lnTo>
                      <a:pt x="79" y="149"/>
                    </a:lnTo>
                    <a:lnTo>
                      <a:pt x="79" y="131"/>
                    </a:lnTo>
                    <a:lnTo>
                      <a:pt x="105" y="114"/>
                    </a:lnTo>
                    <a:lnTo>
                      <a:pt x="131" y="114"/>
                    </a:lnTo>
                    <a:lnTo>
                      <a:pt x="183" y="61"/>
                    </a:lnTo>
                    <a:lnTo>
                      <a:pt x="209" y="70"/>
                    </a:lnTo>
                    <a:lnTo>
                      <a:pt x="209" y="53"/>
                    </a:lnTo>
                    <a:lnTo>
                      <a:pt x="201" y="53"/>
                    </a:lnTo>
                    <a:lnTo>
                      <a:pt x="201" y="18"/>
                    </a:lnTo>
                    <a:lnTo>
                      <a:pt x="183" y="18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39" name="Group 355"/>
              <p:cNvGrpSpPr>
                <a:grpSpLocks/>
              </p:cNvGrpSpPr>
              <p:nvPr/>
            </p:nvGrpSpPr>
            <p:grpSpPr bwMode="auto">
              <a:xfrm>
                <a:off x="3867100" y="2062554"/>
                <a:ext cx="1447311" cy="1410330"/>
                <a:chOff x="3684589" y="2817813"/>
                <a:chExt cx="2144713" cy="2090738"/>
              </a:xfrm>
              <a:grpFill/>
            </p:grpSpPr>
            <p:sp>
              <p:nvSpPr>
                <p:cNvPr id="40" name="Freeform 528"/>
                <p:cNvSpPr>
                  <a:spLocks/>
                </p:cNvSpPr>
                <p:nvPr/>
              </p:nvSpPr>
              <p:spPr bwMode="auto">
                <a:xfrm>
                  <a:off x="5219701" y="3497263"/>
                  <a:ext cx="415925" cy="303213"/>
                </a:xfrm>
                <a:custGeom>
                  <a:avLst/>
                  <a:gdLst>
                    <a:gd name="T0" fmla="*/ 0 w 262"/>
                    <a:gd name="T1" fmla="*/ 2147483647 h 191"/>
                    <a:gd name="T2" fmla="*/ 0 w 262"/>
                    <a:gd name="T3" fmla="*/ 2147483647 h 191"/>
                    <a:gd name="T4" fmla="*/ 2147483647 w 262"/>
                    <a:gd name="T5" fmla="*/ 2147483647 h 191"/>
                    <a:gd name="T6" fmla="*/ 2147483647 w 262"/>
                    <a:gd name="T7" fmla="*/ 2147483647 h 191"/>
                    <a:gd name="T8" fmla="*/ 2147483647 w 262"/>
                    <a:gd name="T9" fmla="*/ 2147483647 h 191"/>
                    <a:gd name="T10" fmla="*/ 2147483647 w 262"/>
                    <a:gd name="T11" fmla="*/ 2147483647 h 191"/>
                    <a:gd name="T12" fmla="*/ 2147483647 w 262"/>
                    <a:gd name="T13" fmla="*/ 2147483647 h 191"/>
                    <a:gd name="T14" fmla="*/ 2147483647 w 262"/>
                    <a:gd name="T15" fmla="*/ 2147483647 h 191"/>
                    <a:gd name="T16" fmla="*/ 2147483647 w 262"/>
                    <a:gd name="T17" fmla="*/ 2147483647 h 191"/>
                    <a:gd name="T18" fmla="*/ 2147483647 w 262"/>
                    <a:gd name="T19" fmla="*/ 2147483647 h 191"/>
                    <a:gd name="T20" fmla="*/ 2147483647 w 262"/>
                    <a:gd name="T21" fmla="*/ 2147483647 h 191"/>
                    <a:gd name="T22" fmla="*/ 2147483647 w 262"/>
                    <a:gd name="T23" fmla="*/ 2147483647 h 191"/>
                    <a:gd name="T24" fmla="*/ 2147483647 w 262"/>
                    <a:gd name="T25" fmla="*/ 2147483647 h 191"/>
                    <a:gd name="T26" fmla="*/ 2147483647 w 262"/>
                    <a:gd name="T27" fmla="*/ 2147483647 h 191"/>
                    <a:gd name="T28" fmla="*/ 2147483647 w 262"/>
                    <a:gd name="T29" fmla="*/ 2147483647 h 191"/>
                    <a:gd name="T30" fmla="*/ 2147483647 w 262"/>
                    <a:gd name="T31" fmla="*/ 2147483647 h 191"/>
                    <a:gd name="T32" fmla="*/ 2147483647 w 262"/>
                    <a:gd name="T33" fmla="*/ 2147483647 h 191"/>
                    <a:gd name="T34" fmla="*/ 2147483647 w 262"/>
                    <a:gd name="T35" fmla="*/ 0 h 191"/>
                    <a:gd name="T36" fmla="*/ 2147483647 w 262"/>
                    <a:gd name="T37" fmla="*/ 2147483647 h 191"/>
                    <a:gd name="T38" fmla="*/ 2147483647 w 262"/>
                    <a:gd name="T39" fmla="*/ 2147483647 h 191"/>
                    <a:gd name="T40" fmla="*/ 2147483647 w 262"/>
                    <a:gd name="T41" fmla="*/ 2147483647 h 191"/>
                    <a:gd name="T42" fmla="*/ 2147483647 w 262"/>
                    <a:gd name="T43" fmla="*/ 2147483647 h 191"/>
                    <a:gd name="T44" fmla="*/ 0 w 262"/>
                    <a:gd name="T45" fmla="*/ 2147483647 h 19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62"/>
                    <a:gd name="T70" fmla="*/ 0 h 191"/>
                    <a:gd name="T71" fmla="*/ 262 w 262"/>
                    <a:gd name="T72" fmla="*/ 191 h 19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62" h="191">
                      <a:moveTo>
                        <a:pt x="0" y="104"/>
                      </a:moveTo>
                      <a:lnTo>
                        <a:pt x="0" y="122"/>
                      </a:lnTo>
                      <a:lnTo>
                        <a:pt x="9" y="122"/>
                      </a:lnTo>
                      <a:lnTo>
                        <a:pt x="44" y="148"/>
                      </a:lnTo>
                      <a:lnTo>
                        <a:pt x="53" y="156"/>
                      </a:lnTo>
                      <a:lnTo>
                        <a:pt x="61" y="174"/>
                      </a:lnTo>
                      <a:lnTo>
                        <a:pt x="122" y="191"/>
                      </a:lnTo>
                      <a:lnTo>
                        <a:pt x="149" y="183"/>
                      </a:lnTo>
                      <a:lnTo>
                        <a:pt x="166" y="183"/>
                      </a:lnTo>
                      <a:lnTo>
                        <a:pt x="192" y="165"/>
                      </a:lnTo>
                      <a:lnTo>
                        <a:pt x="210" y="165"/>
                      </a:lnTo>
                      <a:lnTo>
                        <a:pt x="227" y="148"/>
                      </a:lnTo>
                      <a:lnTo>
                        <a:pt x="262" y="113"/>
                      </a:lnTo>
                      <a:lnTo>
                        <a:pt x="184" y="87"/>
                      </a:lnTo>
                      <a:lnTo>
                        <a:pt x="149" y="43"/>
                      </a:lnTo>
                      <a:lnTo>
                        <a:pt x="157" y="26"/>
                      </a:lnTo>
                      <a:lnTo>
                        <a:pt x="140" y="8"/>
                      </a:lnTo>
                      <a:lnTo>
                        <a:pt x="114" y="0"/>
                      </a:lnTo>
                      <a:lnTo>
                        <a:pt x="53" y="8"/>
                      </a:lnTo>
                      <a:lnTo>
                        <a:pt x="27" y="61"/>
                      </a:lnTo>
                      <a:lnTo>
                        <a:pt x="18" y="61"/>
                      </a:lnTo>
                      <a:lnTo>
                        <a:pt x="9" y="104"/>
                      </a:lnTo>
                      <a:lnTo>
                        <a:pt x="0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grpSp>
              <p:nvGrpSpPr>
                <p:cNvPr id="41" name="Group 357"/>
                <p:cNvGrpSpPr>
                  <a:grpSpLocks/>
                </p:cNvGrpSpPr>
                <p:nvPr/>
              </p:nvGrpSpPr>
              <p:grpSpPr bwMode="auto">
                <a:xfrm>
                  <a:off x="3684589" y="2817813"/>
                  <a:ext cx="2144713" cy="2090738"/>
                  <a:chOff x="3684589" y="2817813"/>
                  <a:chExt cx="2144713" cy="2090738"/>
                </a:xfrm>
                <a:grpFill/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4943476" y="3524251"/>
                    <a:ext cx="373063" cy="276225"/>
                  </a:xfrm>
                  <a:custGeom>
                    <a:avLst/>
                    <a:gdLst>
                      <a:gd name="T0" fmla="*/ 2147483647 w 235"/>
                      <a:gd name="T1" fmla="*/ 2147483647 h 174"/>
                      <a:gd name="T2" fmla="*/ 2147483647 w 235"/>
                      <a:gd name="T3" fmla="*/ 2147483647 h 174"/>
                      <a:gd name="T4" fmla="*/ 2147483647 w 235"/>
                      <a:gd name="T5" fmla="*/ 2147483647 h 174"/>
                      <a:gd name="T6" fmla="*/ 2147483647 w 235"/>
                      <a:gd name="T7" fmla="*/ 2147483647 h 174"/>
                      <a:gd name="T8" fmla="*/ 2147483647 w 235"/>
                      <a:gd name="T9" fmla="*/ 2147483647 h 174"/>
                      <a:gd name="T10" fmla="*/ 2147483647 w 235"/>
                      <a:gd name="T11" fmla="*/ 2147483647 h 174"/>
                      <a:gd name="T12" fmla="*/ 2147483647 w 235"/>
                      <a:gd name="T13" fmla="*/ 2147483647 h 174"/>
                      <a:gd name="T14" fmla="*/ 2147483647 w 235"/>
                      <a:gd name="T15" fmla="*/ 2147483647 h 174"/>
                      <a:gd name="T16" fmla="*/ 2147483647 w 235"/>
                      <a:gd name="T17" fmla="*/ 2147483647 h 174"/>
                      <a:gd name="T18" fmla="*/ 2147483647 w 235"/>
                      <a:gd name="T19" fmla="*/ 2147483647 h 174"/>
                      <a:gd name="T20" fmla="*/ 2147483647 w 235"/>
                      <a:gd name="T21" fmla="*/ 2147483647 h 174"/>
                      <a:gd name="T22" fmla="*/ 2147483647 w 235"/>
                      <a:gd name="T23" fmla="*/ 2147483647 h 174"/>
                      <a:gd name="T24" fmla="*/ 2147483647 w 235"/>
                      <a:gd name="T25" fmla="*/ 2147483647 h 174"/>
                      <a:gd name="T26" fmla="*/ 2147483647 w 235"/>
                      <a:gd name="T27" fmla="*/ 0 h 174"/>
                      <a:gd name="T28" fmla="*/ 0 w 235"/>
                      <a:gd name="T29" fmla="*/ 2147483647 h 174"/>
                      <a:gd name="T30" fmla="*/ 2147483647 w 235"/>
                      <a:gd name="T31" fmla="*/ 2147483647 h 174"/>
                      <a:gd name="T32" fmla="*/ 2147483647 w 235"/>
                      <a:gd name="T33" fmla="*/ 2147483647 h 174"/>
                      <a:gd name="T34" fmla="*/ 2147483647 w 235"/>
                      <a:gd name="T35" fmla="*/ 2147483647 h 174"/>
                      <a:gd name="T36" fmla="*/ 2147483647 w 235"/>
                      <a:gd name="T37" fmla="*/ 2147483647 h 174"/>
                      <a:gd name="T38" fmla="*/ 2147483647 w 235"/>
                      <a:gd name="T39" fmla="*/ 2147483647 h 174"/>
                      <a:gd name="T40" fmla="*/ 2147483647 w 235"/>
                      <a:gd name="T41" fmla="*/ 2147483647 h 174"/>
                      <a:gd name="T42" fmla="*/ 2147483647 w 235"/>
                      <a:gd name="T43" fmla="*/ 2147483647 h 174"/>
                      <a:gd name="T44" fmla="*/ 2147483647 w 235"/>
                      <a:gd name="T45" fmla="*/ 2147483647 h 174"/>
                      <a:gd name="T46" fmla="*/ 2147483647 w 235"/>
                      <a:gd name="T47" fmla="*/ 2147483647 h 174"/>
                      <a:gd name="T48" fmla="*/ 2147483647 w 235"/>
                      <a:gd name="T49" fmla="*/ 2147483647 h 174"/>
                      <a:gd name="T50" fmla="*/ 2147483647 w 235"/>
                      <a:gd name="T51" fmla="*/ 2147483647 h 174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35"/>
                      <a:gd name="T79" fmla="*/ 0 h 174"/>
                      <a:gd name="T80" fmla="*/ 235 w 235"/>
                      <a:gd name="T81" fmla="*/ 174 h 174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35" h="174">
                        <a:moveTo>
                          <a:pt x="218" y="131"/>
                        </a:moveTo>
                        <a:lnTo>
                          <a:pt x="183" y="105"/>
                        </a:lnTo>
                        <a:lnTo>
                          <a:pt x="174" y="105"/>
                        </a:lnTo>
                        <a:lnTo>
                          <a:pt x="174" y="87"/>
                        </a:lnTo>
                        <a:lnTo>
                          <a:pt x="183" y="87"/>
                        </a:lnTo>
                        <a:lnTo>
                          <a:pt x="192" y="44"/>
                        </a:lnTo>
                        <a:lnTo>
                          <a:pt x="201" y="44"/>
                        </a:lnTo>
                        <a:lnTo>
                          <a:pt x="209" y="35"/>
                        </a:lnTo>
                        <a:lnTo>
                          <a:pt x="201" y="35"/>
                        </a:lnTo>
                        <a:lnTo>
                          <a:pt x="183" y="17"/>
                        </a:lnTo>
                        <a:lnTo>
                          <a:pt x="183" y="9"/>
                        </a:lnTo>
                        <a:lnTo>
                          <a:pt x="174" y="9"/>
                        </a:lnTo>
                        <a:lnTo>
                          <a:pt x="113" y="26"/>
                        </a:lnTo>
                        <a:lnTo>
                          <a:pt x="70" y="0"/>
                        </a:lnTo>
                        <a:lnTo>
                          <a:pt x="0" y="26"/>
                        </a:lnTo>
                        <a:lnTo>
                          <a:pt x="35" y="96"/>
                        </a:lnTo>
                        <a:lnTo>
                          <a:pt x="52" y="96"/>
                        </a:lnTo>
                        <a:lnTo>
                          <a:pt x="87" y="139"/>
                        </a:lnTo>
                        <a:lnTo>
                          <a:pt x="87" y="157"/>
                        </a:lnTo>
                        <a:lnTo>
                          <a:pt x="131" y="157"/>
                        </a:lnTo>
                        <a:lnTo>
                          <a:pt x="157" y="174"/>
                        </a:lnTo>
                        <a:lnTo>
                          <a:pt x="209" y="166"/>
                        </a:lnTo>
                        <a:lnTo>
                          <a:pt x="209" y="157"/>
                        </a:lnTo>
                        <a:lnTo>
                          <a:pt x="235" y="157"/>
                        </a:lnTo>
                        <a:lnTo>
                          <a:pt x="227" y="139"/>
                        </a:lnTo>
                        <a:lnTo>
                          <a:pt x="218" y="13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3" name="Freeform 7"/>
                  <p:cNvSpPr>
                    <a:spLocks/>
                  </p:cNvSpPr>
                  <p:nvPr/>
                </p:nvSpPr>
                <p:spPr bwMode="auto">
                  <a:xfrm>
                    <a:off x="4929189" y="3248027"/>
                    <a:ext cx="442913" cy="317500"/>
                  </a:xfrm>
                  <a:custGeom>
                    <a:avLst/>
                    <a:gdLst>
                      <a:gd name="T0" fmla="*/ 2147483647 w 279"/>
                      <a:gd name="T1" fmla="*/ 2147483647 h 200"/>
                      <a:gd name="T2" fmla="*/ 2147483647 w 279"/>
                      <a:gd name="T3" fmla="*/ 2147483647 h 200"/>
                      <a:gd name="T4" fmla="*/ 2147483647 w 279"/>
                      <a:gd name="T5" fmla="*/ 0 h 200"/>
                      <a:gd name="T6" fmla="*/ 2147483647 w 279"/>
                      <a:gd name="T7" fmla="*/ 2147483647 h 200"/>
                      <a:gd name="T8" fmla="*/ 2147483647 w 279"/>
                      <a:gd name="T9" fmla="*/ 2147483647 h 200"/>
                      <a:gd name="T10" fmla="*/ 2147483647 w 279"/>
                      <a:gd name="T11" fmla="*/ 2147483647 h 200"/>
                      <a:gd name="T12" fmla="*/ 2147483647 w 279"/>
                      <a:gd name="T13" fmla="*/ 2147483647 h 200"/>
                      <a:gd name="T14" fmla="*/ 2147483647 w 279"/>
                      <a:gd name="T15" fmla="*/ 2147483647 h 200"/>
                      <a:gd name="T16" fmla="*/ 2147483647 w 279"/>
                      <a:gd name="T17" fmla="*/ 2147483647 h 200"/>
                      <a:gd name="T18" fmla="*/ 0 w 279"/>
                      <a:gd name="T19" fmla="*/ 2147483647 h 200"/>
                      <a:gd name="T20" fmla="*/ 2147483647 w 279"/>
                      <a:gd name="T21" fmla="*/ 2147483647 h 200"/>
                      <a:gd name="T22" fmla="*/ 2147483647 w 279"/>
                      <a:gd name="T23" fmla="*/ 2147483647 h 200"/>
                      <a:gd name="T24" fmla="*/ 2147483647 w 279"/>
                      <a:gd name="T25" fmla="*/ 2147483647 h 200"/>
                      <a:gd name="T26" fmla="*/ 2147483647 w 279"/>
                      <a:gd name="T27" fmla="*/ 2147483647 h 200"/>
                      <a:gd name="T28" fmla="*/ 2147483647 w 279"/>
                      <a:gd name="T29" fmla="*/ 2147483647 h 200"/>
                      <a:gd name="T30" fmla="*/ 2147483647 w 279"/>
                      <a:gd name="T31" fmla="*/ 2147483647 h 200"/>
                      <a:gd name="T32" fmla="*/ 2147483647 w 279"/>
                      <a:gd name="T33" fmla="*/ 2147483647 h 200"/>
                      <a:gd name="T34" fmla="*/ 2147483647 w 279"/>
                      <a:gd name="T35" fmla="*/ 2147483647 h 200"/>
                      <a:gd name="T36" fmla="*/ 2147483647 w 279"/>
                      <a:gd name="T37" fmla="*/ 2147483647 h 200"/>
                      <a:gd name="T38" fmla="*/ 2147483647 w 279"/>
                      <a:gd name="T39" fmla="*/ 2147483647 h 200"/>
                      <a:gd name="T40" fmla="*/ 2147483647 w 279"/>
                      <a:gd name="T41" fmla="*/ 2147483647 h 200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w 279"/>
                      <a:gd name="T64" fmla="*/ 0 h 200"/>
                      <a:gd name="T65" fmla="*/ 279 w 279"/>
                      <a:gd name="T66" fmla="*/ 200 h 200"/>
                    </a:gdLst>
                    <a:ahLst/>
                    <a:cxnLst>
                      <a:cxn ang="T42">
                        <a:pos x="T0" y="T1"/>
                      </a:cxn>
                      <a:cxn ang="T43">
                        <a:pos x="T2" y="T3"/>
                      </a:cxn>
                      <a:cxn ang="T44">
                        <a:pos x="T4" y="T5"/>
                      </a:cxn>
                      <a:cxn ang="T45">
                        <a:pos x="T6" y="T7"/>
                      </a:cxn>
                      <a:cxn ang="T46">
                        <a:pos x="T8" y="T9"/>
                      </a:cxn>
                      <a:cxn ang="T47">
                        <a:pos x="T10" y="T11"/>
                      </a:cxn>
                      <a:cxn ang="T48">
                        <a:pos x="T12" y="T13"/>
                      </a:cxn>
                      <a:cxn ang="T49">
                        <a:pos x="T14" y="T15"/>
                      </a:cxn>
                      <a:cxn ang="T50">
                        <a:pos x="T16" y="T17"/>
                      </a:cxn>
                      <a:cxn ang="T51">
                        <a:pos x="T18" y="T19"/>
                      </a:cxn>
                      <a:cxn ang="T52">
                        <a:pos x="T20" y="T21"/>
                      </a:cxn>
                      <a:cxn ang="T53">
                        <a:pos x="T22" y="T23"/>
                      </a:cxn>
                      <a:cxn ang="T54">
                        <a:pos x="T24" y="T25"/>
                      </a:cxn>
                      <a:cxn ang="T55">
                        <a:pos x="T26" y="T27"/>
                      </a:cxn>
                      <a:cxn ang="T56">
                        <a:pos x="T28" y="T29"/>
                      </a:cxn>
                      <a:cxn ang="T57">
                        <a:pos x="T30" y="T31"/>
                      </a:cxn>
                      <a:cxn ang="T58">
                        <a:pos x="T32" y="T33"/>
                      </a:cxn>
                      <a:cxn ang="T59">
                        <a:pos x="T34" y="T35"/>
                      </a:cxn>
                      <a:cxn ang="T60">
                        <a:pos x="T36" y="T37"/>
                      </a:cxn>
                      <a:cxn ang="T61">
                        <a:pos x="T38" y="T39"/>
                      </a:cxn>
                      <a:cxn ang="T62">
                        <a:pos x="T40" y="T41"/>
                      </a:cxn>
                    </a:cxnLst>
                    <a:rect l="T63" t="T64" r="T65" b="T66"/>
                    <a:pathLst>
                      <a:path w="279" h="200">
                        <a:moveTo>
                          <a:pt x="253" y="61"/>
                        </a:moveTo>
                        <a:lnTo>
                          <a:pt x="244" y="8"/>
                        </a:lnTo>
                        <a:lnTo>
                          <a:pt x="218" y="0"/>
                        </a:lnTo>
                        <a:lnTo>
                          <a:pt x="201" y="17"/>
                        </a:lnTo>
                        <a:lnTo>
                          <a:pt x="53" y="17"/>
                        </a:lnTo>
                        <a:lnTo>
                          <a:pt x="53" y="43"/>
                        </a:lnTo>
                        <a:lnTo>
                          <a:pt x="35" y="52"/>
                        </a:lnTo>
                        <a:lnTo>
                          <a:pt x="35" y="130"/>
                        </a:lnTo>
                        <a:lnTo>
                          <a:pt x="9" y="157"/>
                        </a:lnTo>
                        <a:lnTo>
                          <a:pt x="0" y="183"/>
                        </a:lnTo>
                        <a:lnTo>
                          <a:pt x="9" y="183"/>
                        </a:lnTo>
                        <a:lnTo>
                          <a:pt x="79" y="165"/>
                        </a:lnTo>
                        <a:lnTo>
                          <a:pt x="131" y="183"/>
                        </a:lnTo>
                        <a:lnTo>
                          <a:pt x="175" y="174"/>
                        </a:lnTo>
                        <a:lnTo>
                          <a:pt x="210" y="157"/>
                        </a:lnTo>
                        <a:lnTo>
                          <a:pt x="210" y="191"/>
                        </a:lnTo>
                        <a:lnTo>
                          <a:pt x="218" y="200"/>
                        </a:lnTo>
                        <a:lnTo>
                          <a:pt x="236" y="165"/>
                        </a:lnTo>
                        <a:lnTo>
                          <a:pt x="244" y="104"/>
                        </a:lnTo>
                        <a:lnTo>
                          <a:pt x="279" y="87"/>
                        </a:lnTo>
                        <a:lnTo>
                          <a:pt x="253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4" name="Rectangle 295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5" name="Rectangle 296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6" name="Freeform 297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7" name="Freeform 298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8" name="Freeform 299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9" name="Freeform 300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0" name="Freeform 488"/>
                  <p:cNvSpPr>
                    <a:spLocks/>
                  </p:cNvSpPr>
                  <p:nvPr/>
                </p:nvSpPr>
                <p:spPr bwMode="auto">
                  <a:xfrm>
                    <a:off x="4556126" y="2817813"/>
                    <a:ext cx="96838" cy="222250"/>
                  </a:xfrm>
                  <a:custGeom>
                    <a:avLst/>
                    <a:gdLst>
                      <a:gd name="T0" fmla="*/ 2147483647 w 61"/>
                      <a:gd name="T1" fmla="*/ 2147483647 h 140"/>
                      <a:gd name="T2" fmla="*/ 2147483647 w 61"/>
                      <a:gd name="T3" fmla="*/ 2147483647 h 140"/>
                      <a:gd name="T4" fmla="*/ 2147483647 w 61"/>
                      <a:gd name="T5" fmla="*/ 0 h 140"/>
                      <a:gd name="T6" fmla="*/ 0 w 61"/>
                      <a:gd name="T7" fmla="*/ 2147483647 h 140"/>
                      <a:gd name="T8" fmla="*/ 2147483647 w 61"/>
                      <a:gd name="T9" fmla="*/ 2147483647 h 140"/>
                      <a:gd name="T10" fmla="*/ 2147483647 w 61"/>
                      <a:gd name="T11" fmla="*/ 2147483647 h 140"/>
                      <a:gd name="T12" fmla="*/ 2147483647 w 61"/>
                      <a:gd name="T13" fmla="*/ 2147483647 h 140"/>
                      <a:gd name="T14" fmla="*/ 2147483647 w 61"/>
                      <a:gd name="T15" fmla="*/ 2147483647 h 140"/>
                      <a:gd name="T16" fmla="*/ 2147483647 w 61"/>
                      <a:gd name="T17" fmla="*/ 2147483647 h 140"/>
                      <a:gd name="T18" fmla="*/ 2147483647 w 61"/>
                      <a:gd name="T19" fmla="*/ 2147483647 h 140"/>
                      <a:gd name="T20" fmla="*/ 2147483647 w 61"/>
                      <a:gd name="T21" fmla="*/ 2147483647 h 140"/>
                      <a:gd name="T22" fmla="*/ 2147483647 w 61"/>
                      <a:gd name="T23" fmla="*/ 2147483647 h 140"/>
                      <a:gd name="T24" fmla="*/ 2147483647 w 61"/>
                      <a:gd name="T25" fmla="*/ 2147483647 h 140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61"/>
                      <a:gd name="T40" fmla="*/ 0 h 140"/>
                      <a:gd name="T41" fmla="*/ 61 w 61"/>
                      <a:gd name="T42" fmla="*/ 140 h 140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61" h="140">
                        <a:moveTo>
                          <a:pt x="35" y="27"/>
                        </a:moveTo>
                        <a:lnTo>
                          <a:pt x="35" y="18"/>
                        </a:lnTo>
                        <a:lnTo>
                          <a:pt x="17" y="0"/>
                        </a:lnTo>
                        <a:lnTo>
                          <a:pt x="0" y="70"/>
                        </a:lnTo>
                        <a:lnTo>
                          <a:pt x="26" y="140"/>
                        </a:lnTo>
                        <a:lnTo>
                          <a:pt x="43" y="123"/>
                        </a:lnTo>
                        <a:lnTo>
                          <a:pt x="43" y="105"/>
                        </a:lnTo>
                        <a:lnTo>
                          <a:pt x="52" y="96"/>
                        </a:lnTo>
                        <a:lnTo>
                          <a:pt x="61" y="79"/>
                        </a:lnTo>
                        <a:lnTo>
                          <a:pt x="26" y="61"/>
                        </a:lnTo>
                        <a:lnTo>
                          <a:pt x="35" y="44"/>
                        </a:lnTo>
                        <a:lnTo>
                          <a:pt x="26" y="27"/>
                        </a:lnTo>
                        <a:lnTo>
                          <a:pt x="35" y="2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1" name="Freeform 490"/>
                  <p:cNvSpPr>
                    <a:spLocks/>
                  </p:cNvSpPr>
                  <p:nvPr/>
                </p:nvSpPr>
                <p:spPr bwMode="auto">
                  <a:xfrm>
                    <a:off x="4127501" y="2817813"/>
                    <a:ext cx="539750" cy="539750"/>
                  </a:xfrm>
                  <a:custGeom>
                    <a:avLst/>
                    <a:gdLst>
                      <a:gd name="T0" fmla="*/ 2147483647 w 340"/>
                      <a:gd name="T1" fmla="*/ 2147483647 h 340"/>
                      <a:gd name="T2" fmla="*/ 2147483647 w 340"/>
                      <a:gd name="T3" fmla="*/ 2147483647 h 340"/>
                      <a:gd name="T4" fmla="*/ 2147483647 w 340"/>
                      <a:gd name="T5" fmla="*/ 2147483647 h 340"/>
                      <a:gd name="T6" fmla="*/ 2147483647 w 340"/>
                      <a:gd name="T7" fmla="*/ 2147483647 h 340"/>
                      <a:gd name="T8" fmla="*/ 2147483647 w 340"/>
                      <a:gd name="T9" fmla="*/ 2147483647 h 340"/>
                      <a:gd name="T10" fmla="*/ 2147483647 w 340"/>
                      <a:gd name="T11" fmla="*/ 0 h 340"/>
                      <a:gd name="T12" fmla="*/ 2147483647 w 340"/>
                      <a:gd name="T13" fmla="*/ 2147483647 h 340"/>
                      <a:gd name="T14" fmla="*/ 2147483647 w 340"/>
                      <a:gd name="T15" fmla="*/ 2147483647 h 340"/>
                      <a:gd name="T16" fmla="*/ 2147483647 w 340"/>
                      <a:gd name="T17" fmla="*/ 2147483647 h 340"/>
                      <a:gd name="T18" fmla="*/ 2147483647 w 340"/>
                      <a:gd name="T19" fmla="*/ 2147483647 h 340"/>
                      <a:gd name="T20" fmla="*/ 2147483647 w 340"/>
                      <a:gd name="T21" fmla="*/ 2147483647 h 340"/>
                      <a:gd name="T22" fmla="*/ 2147483647 w 340"/>
                      <a:gd name="T23" fmla="*/ 2147483647 h 340"/>
                      <a:gd name="T24" fmla="*/ 2147483647 w 340"/>
                      <a:gd name="T25" fmla="*/ 2147483647 h 340"/>
                      <a:gd name="T26" fmla="*/ 2147483647 w 340"/>
                      <a:gd name="T27" fmla="*/ 2147483647 h 340"/>
                      <a:gd name="T28" fmla="*/ 2147483647 w 340"/>
                      <a:gd name="T29" fmla="*/ 2147483647 h 340"/>
                      <a:gd name="T30" fmla="*/ 2147483647 w 340"/>
                      <a:gd name="T31" fmla="*/ 2147483647 h 340"/>
                      <a:gd name="T32" fmla="*/ 0 w 340"/>
                      <a:gd name="T33" fmla="*/ 2147483647 h 340"/>
                      <a:gd name="T34" fmla="*/ 0 w 340"/>
                      <a:gd name="T35" fmla="*/ 2147483647 h 340"/>
                      <a:gd name="T36" fmla="*/ 2147483647 w 340"/>
                      <a:gd name="T37" fmla="*/ 2147483647 h 340"/>
                      <a:gd name="T38" fmla="*/ 2147483647 w 340"/>
                      <a:gd name="T39" fmla="*/ 2147483647 h 340"/>
                      <a:gd name="T40" fmla="*/ 2147483647 w 340"/>
                      <a:gd name="T41" fmla="*/ 2147483647 h 340"/>
                      <a:gd name="T42" fmla="*/ 2147483647 w 340"/>
                      <a:gd name="T43" fmla="*/ 2147483647 h 340"/>
                      <a:gd name="T44" fmla="*/ 2147483647 w 340"/>
                      <a:gd name="T45" fmla="*/ 2147483647 h 340"/>
                      <a:gd name="T46" fmla="*/ 2147483647 w 340"/>
                      <a:gd name="T47" fmla="*/ 2147483647 h 340"/>
                      <a:gd name="T48" fmla="*/ 2147483647 w 340"/>
                      <a:gd name="T49" fmla="*/ 2147483647 h 340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w 340"/>
                      <a:gd name="T76" fmla="*/ 0 h 340"/>
                      <a:gd name="T77" fmla="*/ 340 w 340"/>
                      <a:gd name="T78" fmla="*/ 340 h 340"/>
                    </a:gdLst>
                    <a:ahLst/>
                    <a:cxnLst>
                      <a:cxn ang="T50">
                        <a:pos x="T0" y="T1"/>
                      </a:cxn>
                      <a:cxn ang="T51">
                        <a:pos x="T2" y="T3"/>
                      </a:cxn>
                      <a:cxn ang="T52">
                        <a:pos x="T4" y="T5"/>
                      </a:cxn>
                      <a:cxn ang="T53">
                        <a:pos x="T6" y="T7"/>
                      </a:cxn>
                      <a:cxn ang="T54">
                        <a:pos x="T8" y="T9"/>
                      </a:cxn>
                      <a:cxn ang="T55">
                        <a:pos x="T10" y="T11"/>
                      </a:cxn>
                      <a:cxn ang="T56">
                        <a:pos x="T12" y="T13"/>
                      </a:cxn>
                      <a:cxn ang="T57">
                        <a:pos x="T14" y="T15"/>
                      </a:cxn>
                      <a:cxn ang="T58">
                        <a:pos x="T16" y="T17"/>
                      </a:cxn>
                      <a:cxn ang="T59">
                        <a:pos x="T18" y="T19"/>
                      </a:cxn>
                      <a:cxn ang="T60">
                        <a:pos x="T20" y="T21"/>
                      </a:cxn>
                      <a:cxn ang="T61">
                        <a:pos x="T22" y="T23"/>
                      </a:cxn>
                      <a:cxn ang="T62">
                        <a:pos x="T24" y="T25"/>
                      </a:cxn>
                      <a:cxn ang="T63">
                        <a:pos x="T26" y="T27"/>
                      </a:cxn>
                      <a:cxn ang="T64">
                        <a:pos x="T28" y="T29"/>
                      </a:cxn>
                      <a:cxn ang="T65">
                        <a:pos x="T30" y="T31"/>
                      </a:cxn>
                      <a:cxn ang="T66">
                        <a:pos x="T32" y="T33"/>
                      </a:cxn>
                      <a:cxn ang="T67">
                        <a:pos x="T34" y="T35"/>
                      </a:cxn>
                      <a:cxn ang="T68">
                        <a:pos x="T36" y="T37"/>
                      </a:cxn>
                      <a:cxn ang="T69">
                        <a:pos x="T38" y="T39"/>
                      </a:cxn>
                      <a:cxn ang="T70">
                        <a:pos x="T40" y="T41"/>
                      </a:cxn>
                      <a:cxn ang="T71">
                        <a:pos x="T42" y="T43"/>
                      </a:cxn>
                      <a:cxn ang="T72">
                        <a:pos x="T44" y="T45"/>
                      </a:cxn>
                      <a:cxn ang="T73">
                        <a:pos x="T46" y="T47"/>
                      </a:cxn>
                      <a:cxn ang="T74">
                        <a:pos x="T48" y="T49"/>
                      </a:cxn>
                    </a:cxnLst>
                    <a:rect l="T75" t="T76" r="T77" b="T78"/>
                    <a:pathLst>
                      <a:path w="340" h="340">
                        <a:moveTo>
                          <a:pt x="340" y="253"/>
                        </a:moveTo>
                        <a:lnTo>
                          <a:pt x="340" y="245"/>
                        </a:lnTo>
                        <a:lnTo>
                          <a:pt x="305" y="236"/>
                        </a:lnTo>
                        <a:lnTo>
                          <a:pt x="296" y="140"/>
                        </a:lnTo>
                        <a:lnTo>
                          <a:pt x="270" y="70"/>
                        </a:lnTo>
                        <a:lnTo>
                          <a:pt x="287" y="0"/>
                        </a:lnTo>
                        <a:lnTo>
                          <a:pt x="174" y="18"/>
                        </a:lnTo>
                        <a:lnTo>
                          <a:pt x="104" y="35"/>
                        </a:lnTo>
                        <a:lnTo>
                          <a:pt x="104" y="53"/>
                        </a:lnTo>
                        <a:lnTo>
                          <a:pt x="122" y="53"/>
                        </a:lnTo>
                        <a:lnTo>
                          <a:pt x="122" y="88"/>
                        </a:lnTo>
                        <a:lnTo>
                          <a:pt x="130" y="88"/>
                        </a:lnTo>
                        <a:lnTo>
                          <a:pt x="130" y="105"/>
                        </a:lnTo>
                        <a:lnTo>
                          <a:pt x="104" y="96"/>
                        </a:lnTo>
                        <a:lnTo>
                          <a:pt x="52" y="149"/>
                        </a:lnTo>
                        <a:lnTo>
                          <a:pt x="26" y="149"/>
                        </a:lnTo>
                        <a:lnTo>
                          <a:pt x="0" y="166"/>
                        </a:lnTo>
                        <a:lnTo>
                          <a:pt x="0" y="184"/>
                        </a:lnTo>
                        <a:lnTo>
                          <a:pt x="69" y="236"/>
                        </a:lnTo>
                        <a:lnTo>
                          <a:pt x="165" y="297"/>
                        </a:lnTo>
                        <a:lnTo>
                          <a:pt x="165" y="314"/>
                        </a:lnTo>
                        <a:lnTo>
                          <a:pt x="218" y="340"/>
                        </a:lnTo>
                        <a:lnTo>
                          <a:pt x="226" y="332"/>
                        </a:lnTo>
                        <a:lnTo>
                          <a:pt x="235" y="340"/>
                        </a:lnTo>
                        <a:lnTo>
                          <a:pt x="340" y="25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2" name="Freeform 516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3" name="Freeform 517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4" name="Freeform 518"/>
                  <p:cNvSpPr>
                    <a:spLocks/>
                  </p:cNvSpPr>
                  <p:nvPr/>
                </p:nvSpPr>
                <p:spPr bwMode="auto">
                  <a:xfrm>
                    <a:off x="5289551" y="3364792"/>
                    <a:ext cx="222251" cy="234950"/>
                  </a:xfrm>
                  <a:custGeom>
                    <a:avLst/>
                    <a:gdLst>
                      <a:gd name="T0" fmla="*/ 2147483647 w 140"/>
                      <a:gd name="T1" fmla="*/ 0 h 148"/>
                      <a:gd name="T2" fmla="*/ 2147483647 w 140"/>
                      <a:gd name="T3" fmla="*/ 2147483647 h 148"/>
                      <a:gd name="T4" fmla="*/ 0 w 140"/>
                      <a:gd name="T5" fmla="*/ 2147483647 h 148"/>
                      <a:gd name="T6" fmla="*/ 2147483647 w 140"/>
                      <a:gd name="T7" fmla="*/ 2147483647 h 148"/>
                      <a:gd name="T8" fmla="*/ 2147483647 w 140"/>
                      <a:gd name="T9" fmla="*/ 2147483647 h 148"/>
                      <a:gd name="T10" fmla="*/ 2147483647 w 140"/>
                      <a:gd name="T11" fmla="*/ 2147483647 h 148"/>
                      <a:gd name="T12" fmla="*/ 2147483647 w 140"/>
                      <a:gd name="T13" fmla="*/ 2147483647 h 148"/>
                      <a:gd name="T14" fmla="*/ 2147483647 w 140"/>
                      <a:gd name="T15" fmla="*/ 2147483647 h 148"/>
                      <a:gd name="T16" fmla="*/ 2147483647 w 140"/>
                      <a:gd name="T17" fmla="*/ 0 h 148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140"/>
                      <a:gd name="T28" fmla="*/ 0 h 148"/>
                      <a:gd name="T29" fmla="*/ 140 w 140"/>
                      <a:gd name="T30" fmla="*/ 148 h 148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140" h="148">
                        <a:moveTo>
                          <a:pt x="70" y="0"/>
                        </a:moveTo>
                        <a:lnTo>
                          <a:pt x="9" y="26"/>
                        </a:lnTo>
                        <a:lnTo>
                          <a:pt x="0" y="87"/>
                        </a:lnTo>
                        <a:lnTo>
                          <a:pt x="61" y="87"/>
                        </a:lnTo>
                        <a:lnTo>
                          <a:pt x="105" y="113"/>
                        </a:lnTo>
                        <a:lnTo>
                          <a:pt x="96" y="140"/>
                        </a:lnTo>
                        <a:lnTo>
                          <a:pt x="140" y="148"/>
                        </a:lnTo>
                        <a:lnTo>
                          <a:pt x="78" y="52"/>
                        </a:lnTo>
                        <a:lnTo>
                          <a:pt x="7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5" name="Freeform 520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6" name="Freeform 521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7" name="Freeform 522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8" name="Freeform 523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9" name="Freeform 524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0" name="Freeform 525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1" name="Freeform 526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2" name="Freeform 527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3" name="Freeform 529"/>
                  <p:cNvSpPr>
                    <a:spLocks/>
                  </p:cNvSpPr>
                  <p:nvPr/>
                </p:nvSpPr>
                <p:spPr bwMode="auto">
                  <a:xfrm>
                    <a:off x="5219701" y="3497263"/>
                    <a:ext cx="415925" cy="303213"/>
                  </a:xfrm>
                  <a:custGeom>
                    <a:avLst/>
                    <a:gdLst>
                      <a:gd name="T0" fmla="*/ 0 w 262"/>
                      <a:gd name="T1" fmla="*/ 2147483647 h 191"/>
                      <a:gd name="T2" fmla="*/ 0 w 262"/>
                      <a:gd name="T3" fmla="*/ 2147483647 h 191"/>
                      <a:gd name="T4" fmla="*/ 2147483647 w 262"/>
                      <a:gd name="T5" fmla="*/ 2147483647 h 191"/>
                      <a:gd name="T6" fmla="*/ 2147483647 w 262"/>
                      <a:gd name="T7" fmla="*/ 2147483647 h 191"/>
                      <a:gd name="T8" fmla="*/ 2147483647 w 262"/>
                      <a:gd name="T9" fmla="*/ 2147483647 h 191"/>
                      <a:gd name="T10" fmla="*/ 2147483647 w 262"/>
                      <a:gd name="T11" fmla="*/ 2147483647 h 191"/>
                      <a:gd name="T12" fmla="*/ 2147483647 w 262"/>
                      <a:gd name="T13" fmla="*/ 2147483647 h 191"/>
                      <a:gd name="T14" fmla="*/ 2147483647 w 262"/>
                      <a:gd name="T15" fmla="*/ 2147483647 h 191"/>
                      <a:gd name="T16" fmla="*/ 2147483647 w 262"/>
                      <a:gd name="T17" fmla="*/ 2147483647 h 191"/>
                      <a:gd name="T18" fmla="*/ 2147483647 w 262"/>
                      <a:gd name="T19" fmla="*/ 2147483647 h 191"/>
                      <a:gd name="T20" fmla="*/ 2147483647 w 262"/>
                      <a:gd name="T21" fmla="*/ 2147483647 h 191"/>
                      <a:gd name="T22" fmla="*/ 2147483647 w 262"/>
                      <a:gd name="T23" fmla="*/ 2147483647 h 191"/>
                      <a:gd name="T24" fmla="*/ 2147483647 w 262"/>
                      <a:gd name="T25" fmla="*/ 2147483647 h 191"/>
                      <a:gd name="T26" fmla="*/ 2147483647 w 262"/>
                      <a:gd name="T27" fmla="*/ 2147483647 h 191"/>
                      <a:gd name="T28" fmla="*/ 2147483647 w 262"/>
                      <a:gd name="T29" fmla="*/ 2147483647 h 191"/>
                      <a:gd name="T30" fmla="*/ 2147483647 w 262"/>
                      <a:gd name="T31" fmla="*/ 2147483647 h 191"/>
                      <a:gd name="T32" fmla="*/ 2147483647 w 262"/>
                      <a:gd name="T33" fmla="*/ 2147483647 h 191"/>
                      <a:gd name="T34" fmla="*/ 2147483647 w 262"/>
                      <a:gd name="T35" fmla="*/ 0 h 191"/>
                      <a:gd name="T36" fmla="*/ 2147483647 w 262"/>
                      <a:gd name="T37" fmla="*/ 2147483647 h 191"/>
                      <a:gd name="T38" fmla="*/ 2147483647 w 262"/>
                      <a:gd name="T39" fmla="*/ 2147483647 h 191"/>
                      <a:gd name="T40" fmla="*/ 2147483647 w 262"/>
                      <a:gd name="T41" fmla="*/ 2147483647 h 191"/>
                      <a:gd name="T42" fmla="*/ 2147483647 w 262"/>
                      <a:gd name="T43" fmla="*/ 2147483647 h 191"/>
                      <a:gd name="T44" fmla="*/ 0 w 262"/>
                      <a:gd name="T45" fmla="*/ 2147483647 h 19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62"/>
                      <a:gd name="T70" fmla="*/ 0 h 191"/>
                      <a:gd name="T71" fmla="*/ 262 w 262"/>
                      <a:gd name="T72" fmla="*/ 191 h 19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62" h="191">
                        <a:moveTo>
                          <a:pt x="0" y="104"/>
                        </a:moveTo>
                        <a:lnTo>
                          <a:pt x="0" y="122"/>
                        </a:lnTo>
                        <a:lnTo>
                          <a:pt x="9" y="122"/>
                        </a:lnTo>
                        <a:lnTo>
                          <a:pt x="44" y="148"/>
                        </a:lnTo>
                        <a:lnTo>
                          <a:pt x="53" y="156"/>
                        </a:lnTo>
                        <a:lnTo>
                          <a:pt x="61" y="174"/>
                        </a:lnTo>
                        <a:lnTo>
                          <a:pt x="122" y="191"/>
                        </a:lnTo>
                        <a:lnTo>
                          <a:pt x="149" y="183"/>
                        </a:lnTo>
                        <a:lnTo>
                          <a:pt x="166" y="183"/>
                        </a:lnTo>
                        <a:lnTo>
                          <a:pt x="192" y="165"/>
                        </a:lnTo>
                        <a:lnTo>
                          <a:pt x="210" y="165"/>
                        </a:lnTo>
                        <a:lnTo>
                          <a:pt x="227" y="148"/>
                        </a:lnTo>
                        <a:lnTo>
                          <a:pt x="262" y="113"/>
                        </a:lnTo>
                        <a:lnTo>
                          <a:pt x="184" y="87"/>
                        </a:lnTo>
                        <a:lnTo>
                          <a:pt x="149" y="43"/>
                        </a:lnTo>
                        <a:lnTo>
                          <a:pt x="157" y="26"/>
                        </a:lnTo>
                        <a:lnTo>
                          <a:pt x="140" y="8"/>
                        </a:lnTo>
                        <a:lnTo>
                          <a:pt x="114" y="0"/>
                        </a:lnTo>
                        <a:lnTo>
                          <a:pt x="53" y="8"/>
                        </a:lnTo>
                        <a:lnTo>
                          <a:pt x="27" y="61"/>
                        </a:lnTo>
                        <a:lnTo>
                          <a:pt x="18" y="61"/>
                        </a:lnTo>
                        <a:lnTo>
                          <a:pt x="9" y="104"/>
                        </a:lnTo>
                        <a:lnTo>
                          <a:pt x="0" y="10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4" name="Freeform 531"/>
                  <p:cNvSpPr>
                    <a:spLocks/>
                  </p:cNvSpPr>
                  <p:nvPr/>
                </p:nvSpPr>
                <p:spPr bwMode="auto">
                  <a:xfrm>
                    <a:off x="4984394" y="2979616"/>
                    <a:ext cx="289353" cy="291820"/>
                  </a:xfrm>
                  <a:custGeom>
                    <a:avLst/>
                    <a:gdLst>
                      <a:gd name="T0" fmla="*/ 131 w 183"/>
                      <a:gd name="T1" fmla="*/ 52 h 183"/>
                      <a:gd name="T2" fmla="*/ 122 w 183"/>
                      <a:gd name="T3" fmla="*/ 26 h 183"/>
                      <a:gd name="T4" fmla="*/ 131 w 183"/>
                      <a:gd name="T5" fmla="*/ 52 h 183"/>
                      <a:gd name="T6" fmla="*/ 140 w 183"/>
                      <a:gd name="T7" fmla="*/ 52 h 183"/>
                      <a:gd name="T8" fmla="*/ 157 w 183"/>
                      <a:gd name="T9" fmla="*/ 70 h 183"/>
                      <a:gd name="T10" fmla="*/ 175 w 183"/>
                      <a:gd name="T11" fmla="*/ 44 h 183"/>
                      <a:gd name="T12" fmla="*/ 148 w 183"/>
                      <a:gd name="T13" fmla="*/ 0 h 183"/>
                      <a:gd name="T14" fmla="*/ 122 w 183"/>
                      <a:gd name="T15" fmla="*/ 9 h 183"/>
                      <a:gd name="T16" fmla="*/ 96 w 183"/>
                      <a:gd name="T17" fmla="*/ 9 h 183"/>
                      <a:gd name="T18" fmla="*/ 52 w 183"/>
                      <a:gd name="T19" fmla="*/ 18 h 183"/>
                      <a:gd name="T20" fmla="*/ 26 w 183"/>
                      <a:gd name="T21" fmla="*/ 0 h 183"/>
                      <a:gd name="T22" fmla="*/ 0 w 183"/>
                      <a:gd name="T23" fmla="*/ 0 h 183"/>
                      <a:gd name="T24" fmla="*/ 9 w 183"/>
                      <a:gd name="T25" fmla="*/ 26 h 183"/>
                      <a:gd name="T26" fmla="*/ 0 w 183"/>
                      <a:gd name="T27" fmla="*/ 26 h 183"/>
                      <a:gd name="T28" fmla="*/ 18 w 183"/>
                      <a:gd name="T29" fmla="*/ 52 h 183"/>
                      <a:gd name="T30" fmla="*/ 18 w 183"/>
                      <a:gd name="T31" fmla="*/ 183 h 183"/>
                      <a:gd name="T32" fmla="*/ 166 w 183"/>
                      <a:gd name="T33" fmla="*/ 183 h 183"/>
                      <a:gd name="T34" fmla="*/ 183 w 183"/>
                      <a:gd name="T35" fmla="*/ 166 h 183"/>
                      <a:gd name="T36" fmla="*/ 183 w 183"/>
                      <a:gd name="T37" fmla="*/ 140 h 183"/>
                      <a:gd name="T38" fmla="*/ 157 w 183"/>
                      <a:gd name="T39" fmla="*/ 113 h 183"/>
                      <a:gd name="T40" fmla="*/ 148 w 183"/>
                      <a:gd name="T41" fmla="*/ 79 h 183"/>
                      <a:gd name="T42" fmla="*/ 131 w 183"/>
                      <a:gd name="T43" fmla="*/ 52 h 1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183" h="183">
                        <a:moveTo>
                          <a:pt x="131" y="52"/>
                        </a:moveTo>
                        <a:lnTo>
                          <a:pt x="122" y="26"/>
                        </a:lnTo>
                        <a:lnTo>
                          <a:pt x="131" y="52"/>
                        </a:lnTo>
                        <a:lnTo>
                          <a:pt x="140" y="52"/>
                        </a:lnTo>
                        <a:lnTo>
                          <a:pt x="157" y="70"/>
                        </a:lnTo>
                        <a:lnTo>
                          <a:pt x="175" y="44"/>
                        </a:lnTo>
                        <a:lnTo>
                          <a:pt x="148" y="0"/>
                        </a:lnTo>
                        <a:lnTo>
                          <a:pt x="122" y="9"/>
                        </a:lnTo>
                        <a:lnTo>
                          <a:pt x="96" y="9"/>
                        </a:lnTo>
                        <a:lnTo>
                          <a:pt x="52" y="18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9" y="26"/>
                        </a:lnTo>
                        <a:lnTo>
                          <a:pt x="0" y="26"/>
                        </a:lnTo>
                        <a:lnTo>
                          <a:pt x="18" y="52"/>
                        </a:lnTo>
                        <a:lnTo>
                          <a:pt x="18" y="183"/>
                        </a:lnTo>
                        <a:lnTo>
                          <a:pt x="166" y="183"/>
                        </a:lnTo>
                        <a:lnTo>
                          <a:pt x="183" y="166"/>
                        </a:lnTo>
                        <a:lnTo>
                          <a:pt x="183" y="140"/>
                        </a:lnTo>
                        <a:lnTo>
                          <a:pt x="157" y="113"/>
                        </a:lnTo>
                        <a:lnTo>
                          <a:pt x="148" y="79"/>
                        </a:lnTo>
                        <a:lnTo>
                          <a:pt x="131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n>
                        <a:solidFill>
                          <a:srgbClr val="001135"/>
                        </a:solidFill>
                      </a:ln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5" name="Freeform 533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6" name="Freeform 534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7" name="Freeform 535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8" name="Freeform 536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9" name="Freeform 537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0" name="Freeform 538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1" name="Freeform 539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2" name="Freeform 540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3" name="Freeform 541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4" name="Freeform 542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5" name="Freeform 543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6" name="Freeform 544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7" name="Freeform 545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8" name="Freeform 546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9" name="Freeform 547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0" name="Freeform 548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1" name="Freeform 549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2" name="Freeform 550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3" name="Freeform 551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4" name="Freeform 552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5" name="Freeform 553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6" name="Freeform 554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7" name="Freeform 555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8" name="Freeform 556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9" name="Freeform 557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0" name="Freeform 558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1" name="Freeform 559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2" name="Freeform 560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3" name="Freeform 561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4" name="Freeform 562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5" name="Freeform 563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6" name="Freeform 564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7" name="Freeform 565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8" name="Freeform 566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9" name="Freeform 567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0" name="Freeform 568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1" name="Freeform 569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2" name="Freeform 570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3" name="Freeform 571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4" name="Freeform 572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5" name="Freeform 573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6" name="Freeform 574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7" name="Freeform 575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8" name="Freeform 576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9" name="Freeform 577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0" name="Freeform 578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1" name="Freeform 579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2" name="Freeform 580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3" name="Freeform 581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4" name="Freeform 582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5" name="Freeform 583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6" name="Freeform 584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7" name="Freeform 585"/>
                  <p:cNvSpPr>
                    <a:spLocks/>
                  </p:cNvSpPr>
                  <p:nvPr/>
                </p:nvSpPr>
                <p:spPr bwMode="auto">
                  <a:xfrm>
                    <a:off x="4002089" y="2873375"/>
                    <a:ext cx="331788" cy="236538"/>
                  </a:xfrm>
                  <a:custGeom>
                    <a:avLst/>
                    <a:gdLst>
                      <a:gd name="T0" fmla="*/ 2147483647 w 209"/>
                      <a:gd name="T1" fmla="*/ 2147483647 h 149"/>
                      <a:gd name="T2" fmla="*/ 2147483647 w 209"/>
                      <a:gd name="T3" fmla="*/ 0 h 149"/>
                      <a:gd name="T4" fmla="*/ 2147483647 w 209"/>
                      <a:gd name="T5" fmla="*/ 0 h 149"/>
                      <a:gd name="T6" fmla="*/ 2147483647 w 209"/>
                      <a:gd name="T7" fmla="*/ 0 h 149"/>
                      <a:gd name="T8" fmla="*/ 2147483647 w 209"/>
                      <a:gd name="T9" fmla="*/ 2147483647 h 149"/>
                      <a:gd name="T10" fmla="*/ 2147483647 w 209"/>
                      <a:gd name="T11" fmla="*/ 2147483647 h 149"/>
                      <a:gd name="T12" fmla="*/ 2147483647 w 209"/>
                      <a:gd name="T13" fmla="*/ 2147483647 h 149"/>
                      <a:gd name="T14" fmla="*/ 2147483647 w 209"/>
                      <a:gd name="T15" fmla="*/ 2147483647 h 149"/>
                      <a:gd name="T16" fmla="*/ 2147483647 w 209"/>
                      <a:gd name="T17" fmla="*/ 2147483647 h 149"/>
                      <a:gd name="T18" fmla="*/ 2147483647 w 209"/>
                      <a:gd name="T19" fmla="*/ 2147483647 h 149"/>
                      <a:gd name="T20" fmla="*/ 2147483647 w 209"/>
                      <a:gd name="T21" fmla="*/ 2147483647 h 149"/>
                      <a:gd name="T22" fmla="*/ 0 w 209"/>
                      <a:gd name="T23" fmla="*/ 2147483647 h 149"/>
                      <a:gd name="T24" fmla="*/ 2147483647 w 209"/>
                      <a:gd name="T25" fmla="*/ 2147483647 h 149"/>
                      <a:gd name="T26" fmla="*/ 2147483647 w 209"/>
                      <a:gd name="T27" fmla="*/ 2147483647 h 149"/>
                      <a:gd name="T28" fmla="*/ 2147483647 w 209"/>
                      <a:gd name="T29" fmla="*/ 2147483647 h 149"/>
                      <a:gd name="T30" fmla="*/ 2147483647 w 209"/>
                      <a:gd name="T31" fmla="*/ 2147483647 h 149"/>
                      <a:gd name="T32" fmla="*/ 2147483647 w 209"/>
                      <a:gd name="T33" fmla="*/ 2147483647 h 149"/>
                      <a:gd name="T34" fmla="*/ 2147483647 w 209"/>
                      <a:gd name="T35" fmla="*/ 2147483647 h 149"/>
                      <a:gd name="T36" fmla="*/ 2147483647 w 209"/>
                      <a:gd name="T37" fmla="*/ 2147483647 h 149"/>
                      <a:gd name="T38" fmla="*/ 2147483647 w 209"/>
                      <a:gd name="T39" fmla="*/ 2147483647 h 149"/>
                      <a:gd name="T40" fmla="*/ 2147483647 w 209"/>
                      <a:gd name="T41" fmla="*/ 2147483647 h 149"/>
                      <a:gd name="T42" fmla="*/ 2147483647 w 209"/>
                      <a:gd name="T43" fmla="*/ 2147483647 h 149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209"/>
                      <a:gd name="T67" fmla="*/ 0 h 149"/>
                      <a:gd name="T68" fmla="*/ 209 w 209"/>
                      <a:gd name="T69" fmla="*/ 149 h 149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209" h="149">
                        <a:moveTo>
                          <a:pt x="183" y="18"/>
                        </a:moveTo>
                        <a:lnTo>
                          <a:pt x="183" y="0"/>
                        </a:lnTo>
                        <a:lnTo>
                          <a:pt x="131" y="0"/>
                        </a:lnTo>
                        <a:lnTo>
                          <a:pt x="105" y="44"/>
                        </a:lnTo>
                        <a:lnTo>
                          <a:pt x="79" y="44"/>
                        </a:lnTo>
                        <a:lnTo>
                          <a:pt x="61" y="53"/>
                        </a:lnTo>
                        <a:lnTo>
                          <a:pt x="61" y="114"/>
                        </a:lnTo>
                        <a:lnTo>
                          <a:pt x="35" y="131"/>
                        </a:lnTo>
                        <a:lnTo>
                          <a:pt x="35" y="140"/>
                        </a:lnTo>
                        <a:lnTo>
                          <a:pt x="0" y="149"/>
                        </a:lnTo>
                        <a:lnTo>
                          <a:pt x="79" y="149"/>
                        </a:lnTo>
                        <a:lnTo>
                          <a:pt x="79" y="131"/>
                        </a:lnTo>
                        <a:lnTo>
                          <a:pt x="105" y="114"/>
                        </a:lnTo>
                        <a:lnTo>
                          <a:pt x="131" y="114"/>
                        </a:lnTo>
                        <a:lnTo>
                          <a:pt x="183" y="61"/>
                        </a:lnTo>
                        <a:lnTo>
                          <a:pt x="209" y="70"/>
                        </a:lnTo>
                        <a:lnTo>
                          <a:pt x="209" y="53"/>
                        </a:lnTo>
                        <a:lnTo>
                          <a:pt x="201" y="53"/>
                        </a:lnTo>
                        <a:lnTo>
                          <a:pt x="201" y="18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8" name="Freeform 587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9" name="Freeform 588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0" name="Freeform 589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1" name="Freeform 590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2" name="Freeform 591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3" name="Freeform 592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4" name="Freeform 593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5" name="Freeform 594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6" name="Freeform 595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7" name="Freeform 596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8" name="Freeform 597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9" name="Freeform 598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0" name="Freeform 599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1" name="Freeform 600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2" name="Freeform 601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3" name="Freeform 602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4" name="Freeform 603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5" name="Freeform 604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6" name="Freeform 605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7" name="Freeform 606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8" name="Freeform 607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9" name="Freeform 609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0" name="Freeform 610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1" name="Freeform 611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2" name="Freeform 612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3" name="Freeform 613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4" name="Freeform 614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5" name="Freeform 615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6" name="Freeform 616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7" name="Freeform 617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</p:grpSp>
          </p:grpSp>
        </p:grpSp>
        <p:sp>
          <p:nvSpPr>
            <p:cNvPr id="14" name="Ellipse 2"/>
            <p:cNvSpPr/>
            <p:nvPr userDrawn="1"/>
          </p:nvSpPr>
          <p:spPr>
            <a:xfrm>
              <a:off x="3745155" y="1316622"/>
              <a:ext cx="1006922" cy="2618209"/>
            </a:xfrm>
            <a:custGeom>
              <a:avLst/>
              <a:gdLst/>
              <a:ahLst/>
              <a:cxnLst/>
              <a:rect l="l" t="t" r="r" b="b"/>
              <a:pathLst>
                <a:path w="913344" h="2374886">
                  <a:moveTo>
                    <a:pt x="456672" y="0"/>
                  </a:moveTo>
                  <a:cubicBezTo>
                    <a:pt x="741172" y="313816"/>
                    <a:pt x="913344" y="730523"/>
                    <a:pt x="913344" y="1187443"/>
                  </a:cubicBezTo>
                  <a:cubicBezTo>
                    <a:pt x="913344" y="1644363"/>
                    <a:pt x="741172" y="2061070"/>
                    <a:pt x="456672" y="2374886"/>
                  </a:cubicBezTo>
                  <a:cubicBezTo>
                    <a:pt x="172173" y="2061070"/>
                    <a:pt x="0" y="1644363"/>
                    <a:pt x="0" y="1187443"/>
                  </a:cubicBezTo>
                  <a:cubicBezTo>
                    <a:pt x="0" y="730523"/>
                    <a:pt x="172173" y="313816"/>
                    <a:pt x="456672" y="0"/>
                  </a:cubicBezTo>
                  <a:close/>
                </a:path>
              </a:pathLst>
            </a:custGeom>
            <a:solidFill>
              <a:schemeClr val="tx1">
                <a:alpha val="43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315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77110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3955215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900000"/>
            <a:ext cx="8308800" cy="1980000"/>
          </a:xfrm>
        </p:spPr>
        <p:txBody>
          <a:bodyPr/>
          <a:lstStyle>
            <a:lvl1pPr marL="0" indent="0">
              <a:buNone/>
              <a:defRPr sz="660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eaLnBrk="1" hangingPunct="1"/>
            <a:r>
              <a:rPr lang="en-US" dirty="0">
                <a:ea typeface="ヒラギノ角ゴ Pro W3"/>
                <a:cs typeface="ヒラギノ角ゴ Pro W3"/>
              </a:rPr>
              <a:t>Main headline in</a:t>
            </a:r>
            <a:br>
              <a:rPr lang="en-US" dirty="0">
                <a:ea typeface="ヒラギノ角ゴ Pro W3"/>
                <a:cs typeface="ヒラギノ角ゴ Pro W3"/>
              </a:rPr>
            </a:br>
            <a:r>
              <a:rPr lang="en-US" dirty="0">
                <a:ea typeface="ヒラギノ角ゴ Pro W3"/>
                <a:cs typeface="ヒラギノ角ゴ Pro W3"/>
              </a:rPr>
              <a:t>lower case he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417600" y="3059999"/>
            <a:ext cx="8308800" cy="1576800"/>
          </a:xfrm>
        </p:spPr>
        <p:txBody>
          <a:bodyPr/>
          <a:lstStyle>
            <a:lvl1pPr marL="0" indent="0">
              <a:buNone/>
              <a:defRPr sz="1800"/>
            </a:lvl1pPr>
            <a:lvl2pPr marL="230400" indent="-228600">
              <a:buFont typeface="Arial" panose="020B0604020202020204" pitchFamily="34" charset="0"/>
              <a:buChar char="•"/>
              <a:defRPr sz="1800"/>
            </a:lvl2pPr>
          </a:lstStyle>
          <a:p>
            <a:pPr lvl="0"/>
            <a:r>
              <a:rPr lang="en-US" dirty="0"/>
              <a:t>Supporting headline in sentence case here </a:t>
            </a:r>
          </a:p>
          <a:p>
            <a:pPr lvl="1"/>
            <a:r>
              <a:rPr lang="en-US" dirty="0"/>
              <a:t>Author/Presenter</a:t>
            </a:r>
          </a:p>
          <a:p>
            <a:pPr lvl="1"/>
            <a:r>
              <a:rPr lang="en-US" dirty="0"/>
              <a:t>DD-MM-YYYY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00" y="280580"/>
            <a:ext cx="1080000" cy="175283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967608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599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811815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bg1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82873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599" y="280799"/>
            <a:ext cx="8308800" cy="4359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089625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404847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012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6" name="TextBox 5"/>
          <p:cNvSpPr txBox="1"/>
          <p:nvPr userDrawn="1"/>
        </p:nvSpPr>
        <p:spPr bwMode="auto">
          <a:xfrm>
            <a:off x="417512" y="4651634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172970079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417512" y="4696575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61991526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82670969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8.xml"/><Relationship Id="rId16" Type="http://schemas.openxmlformats.org/officeDocument/2006/relationships/vmlDrawing" Target="../drawings/vmlDrawing2.v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6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096161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09/05/2017</a:t>
            </a:fld>
            <a:endParaRPr lang="en-GB" sz="800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/>
        </p:nvSpPr>
        <p:spPr>
          <a:xfrm>
            <a:off x="1503363" y="4749800"/>
            <a:ext cx="6078537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0" y="4787900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 dirty="0">
                <a:solidFill>
                  <a:schemeClr val="bg2"/>
                </a:solidFill>
                <a:cs typeface="Arial" charset="0"/>
              </a:rPr>
              <a:t>Nokia Internal Use</a:t>
            </a:r>
            <a:endParaRPr lang="en-GB" sz="800" dirty="0">
              <a:solidFill>
                <a:schemeClr val="bg2"/>
              </a:solidFill>
              <a:cs typeface="Arial" charset="0"/>
            </a:endParaRPr>
          </a:p>
        </p:txBody>
      </p:sp>
      <p:sp>
        <p:nvSpPr>
          <p:cNvPr id="30" name="TextBox 29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400">
              <a:defRPr/>
            </a:pPr>
            <a:r>
              <a:rPr lang="en-US" sz="600" dirty="0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ies</a:t>
            </a:r>
            <a:r>
              <a:rPr lang="en-US" sz="600" dirty="0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 where applicable and subject to necessary legal procedures and approvals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5" r:id="rId2"/>
    <p:sldLayoutId id="2147483804" r:id="rId3"/>
  </p:sldLayoutIdLst>
  <p:transition/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80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cs typeface="Arial" panose="020B0604020202020204" pitchFamily="34" charset="0"/>
              </a:rPr>
              <a:pPr>
                <a:defRPr/>
              </a:pPr>
              <a:t>09/05/2017</a:t>
            </a:fld>
            <a:endParaRPr lang="en-GB" sz="800" dirty="0"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2800" y="4644000"/>
            <a:ext cx="504825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/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33388" y="4767257"/>
            <a:ext cx="5048250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kia Internal </a:t>
            </a:r>
            <a:r>
              <a:rPr lang="en-GB" sz="8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</a:t>
            </a: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</a:t>
            </a:r>
            <a:endParaRPr lang="en-GB" sz="8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1419225" y="4650515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/>
            <a:r>
              <a:rPr lang="en-US" sz="800" dirty="0">
                <a:solidFill>
                  <a:schemeClr val="bg1"/>
                </a:solidFill>
                <a:latin typeface="Arial"/>
                <a:cs typeface="Arial" charset="0"/>
              </a:rPr>
              <a:t>© Nokia 2017	D541286176 / v.2.1/ Approved  </a:t>
            </a:r>
          </a:p>
        </p:txBody>
      </p:sp>
      <p:sp>
        <p:nvSpPr>
          <p:cNvPr id="30" name="TextBox 29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chemeClr val="bg1"/>
                </a:solidFill>
                <a:latin typeface="Nokia Pure Text Light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chemeClr val="bg1"/>
                </a:solidFill>
                <a:latin typeface="Nokia Pure Text Light"/>
                <a:cs typeface="Arial" charset="0"/>
              </a:rPr>
              <a:t>ies</a:t>
            </a:r>
            <a:r>
              <a:rPr lang="en-US" sz="600" dirty="0">
                <a:solidFill>
                  <a:schemeClr val="bg1"/>
                </a:solidFill>
                <a:latin typeface="Nokia Pure Text Light"/>
                <a:cs typeface="Arial" charset="0"/>
              </a:rPr>
              <a:t> where applicable and subject to necessary legal procedures and approvals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10" r:id="rId3"/>
  </p:sldLayoutIdLst>
  <p:transition/>
  <p:hf sldNum="0"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77087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0" name="think-cell Slide" r:id="rId18" imgW="216" imgH="216" progId="">
                  <p:embed/>
                </p:oleObj>
              </mc:Choice>
              <mc:Fallback>
                <p:oleObj name="think-cell Slide" r:id="rId18" imgW="216" imgH="216" progId="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2017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124191"/>
                </a:solidFill>
                <a:latin typeface="Nokia Pure Text Light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rgbClr val="124191"/>
                </a:solidFill>
                <a:latin typeface="Nokia Pure Text Light"/>
                <a:cs typeface="Arial" charset="0"/>
              </a:rPr>
              <a:t>ies</a:t>
            </a:r>
            <a:r>
              <a:rPr lang="en-US" sz="600" dirty="0">
                <a:solidFill>
                  <a:srgbClr val="124191"/>
                </a:solidFill>
                <a:latin typeface="Nokia Pure Text Light"/>
                <a:cs typeface="Arial" charset="0"/>
              </a:rPr>
              <a:t> where applicable and subject to necessary legal procedures and approvals.</a:t>
            </a:r>
          </a:p>
        </p:txBody>
      </p:sp>
    </p:spTree>
    <p:extLst>
      <p:ext uri="{BB962C8B-B14F-4D97-AF65-F5344CB8AC3E}">
        <p14:creationId xmlns:p14="http://schemas.microsoft.com/office/powerpoint/2010/main" val="614715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7" r:id="rId12"/>
    <p:sldLayoutId id="2147483829" r:id="rId13"/>
    <p:sldLayoutId id="2147483832" r:id="rId14"/>
  </p:sldLayoutIdLst>
  <p:transition/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066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</p:sldLayoutIdLst>
  <p:transition/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US" sz="800" noProof="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38" y="4643438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noProof="0" dirty="0">
                <a:solidFill>
                  <a:schemeClr val="bg2"/>
                </a:solidFill>
                <a:latin typeface="+mn-lt"/>
                <a:cs typeface="Arial" charset="0"/>
              </a:rPr>
              <a:t>© Nokia Solutions and Networks 2017</a:t>
            </a:r>
          </a:p>
        </p:txBody>
      </p:sp>
      <p:sp>
        <p:nvSpPr>
          <p:cNvPr id="31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27383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9" r:id="rId5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216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pic>
        <p:nvPicPr>
          <p:cNvPr id="3" name="Picture 2">
            <a:hlinkClick r:id="" action="ppaction://noaction"/>
          </p:cNvPr>
          <p:cNvPicPr>
            <a:picLocks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8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9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5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6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17" name="Gruppieren 16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19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0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1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2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3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4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25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27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48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49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50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18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  <p:cxnSp>
        <p:nvCxnSpPr>
          <p:cNvPr id="5" name="Gerade Verbindung 4"/>
          <p:cNvCxnSpPr/>
          <p:nvPr userDrawn="1"/>
        </p:nvCxnSpPr>
        <p:spPr>
          <a:xfrm>
            <a:off x="233553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/>
        </p:nvCxnSpPr>
        <p:spPr>
          <a:xfrm>
            <a:off x="414528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53" name="Rechteck 52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233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0800"/>
            <a:ext cx="830880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0000"/>
            <a:ext cx="8308800" cy="35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433388" y="4816089"/>
            <a:ext cx="223612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7" name="Rechteck 6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9" name="Rechteck 8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11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7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8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9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0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1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22" name="Gruppieren 21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24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5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6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7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30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32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3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34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36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7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38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23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7925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0" kern="1200">
          <a:solidFill>
            <a:schemeClr val="bg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1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uvt2017cplusplus/labs/blob/master/UVT_lab2_cplusplus.cpp" TargetMode="External"/><Relationship Id="rId2" Type="http://schemas.openxmlformats.org/officeDocument/2006/relationships/hyperlink" Target="https://github.com/uvt2017cplusplus/labs" TargetMode="Externa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 txBox="1">
            <a:spLocks/>
          </p:cNvSpPr>
          <p:nvPr/>
        </p:nvSpPr>
        <p:spPr>
          <a:xfrm>
            <a:off x="165006" y="2197152"/>
            <a:ext cx="3956326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sz="2300" dirty="0">
                <a:latin typeface="Nokia Pure Headline Light" panose="020B0304040602060303" pitchFamily="34" charset="0"/>
              </a:rPr>
              <a:t>UVT C++ 2017 lab 4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1332" y="785306"/>
            <a:ext cx="4571502" cy="3228624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48415" y="788466"/>
            <a:ext cx="8001368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900" b="1" dirty="0" err="1">
                <a:latin typeface="+mn-lt"/>
              </a:rPr>
              <a:t>Shared_ptr</a:t>
            </a:r>
            <a:r>
              <a:rPr lang="en-US" altLang="en-US" sz="1900" dirty="0">
                <a:latin typeface="+mn-lt"/>
              </a:rPr>
              <a:t> Its small memory footprint and runtime efficiency make it a useful replacement for raw pointers. </a:t>
            </a:r>
          </a:p>
          <a:p>
            <a:endParaRPr lang="en-US" altLang="en-US" sz="1900" dirty="0">
              <a:latin typeface="+mn-lt"/>
            </a:endParaRPr>
          </a:p>
          <a:p>
            <a:r>
              <a:rPr lang="en-US" sz="1900" dirty="0">
                <a:latin typeface="+mn-lt"/>
              </a:rPr>
              <a:t>It is fine to have multiple </a:t>
            </a:r>
            <a:r>
              <a:rPr lang="en-US" sz="1900" dirty="0" err="1">
                <a:latin typeface="+mn-lt"/>
              </a:rPr>
              <a:t>std</a:t>
            </a:r>
            <a:r>
              <a:rPr lang="en-US" sz="1900" dirty="0">
                <a:latin typeface="+mn-lt"/>
              </a:rPr>
              <a:t>::</a:t>
            </a:r>
            <a:r>
              <a:rPr lang="en-US" sz="1900" dirty="0" err="1">
                <a:latin typeface="+mn-lt"/>
              </a:rPr>
              <a:t>shared_ptr</a:t>
            </a:r>
            <a:r>
              <a:rPr lang="en-US" sz="1900" dirty="0">
                <a:latin typeface="+mn-lt"/>
              </a:rPr>
              <a:t> pointing to the same resource. Internally, </a:t>
            </a:r>
            <a:r>
              <a:rPr lang="en-US" sz="1900" dirty="0" err="1">
                <a:latin typeface="+mn-lt"/>
              </a:rPr>
              <a:t>std</a:t>
            </a:r>
            <a:r>
              <a:rPr lang="en-US" sz="1900" dirty="0">
                <a:latin typeface="+mn-lt"/>
              </a:rPr>
              <a:t>::</a:t>
            </a:r>
            <a:r>
              <a:rPr lang="en-US" sz="1900" dirty="0" err="1">
                <a:latin typeface="+mn-lt"/>
              </a:rPr>
              <a:t>shared_ptr</a:t>
            </a:r>
            <a:r>
              <a:rPr lang="en-US" sz="1900" dirty="0">
                <a:latin typeface="+mn-lt"/>
              </a:rPr>
              <a:t> keeps track of how many </a:t>
            </a:r>
            <a:r>
              <a:rPr lang="en-US" sz="1900" dirty="0" err="1">
                <a:latin typeface="+mn-lt"/>
              </a:rPr>
              <a:t>std</a:t>
            </a:r>
            <a:r>
              <a:rPr lang="en-US" sz="1900" dirty="0">
                <a:latin typeface="+mn-lt"/>
              </a:rPr>
              <a:t>::</a:t>
            </a:r>
            <a:r>
              <a:rPr lang="en-US" sz="1900" dirty="0" err="1">
                <a:latin typeface="+mn-lt"/>
              </a:rPr>
              <a:t>shared_ptr</a:t>
            </a:r>
            <a:r>
              <a:rPr lang="en-US" sz="1900" dirty="0">
                <a:latin typeface="+mn-lt"/>
              </a:rPr>
              <a:t> are sharing the resource. As long as at least one </a:t>
            </a:r>
            <a:r>
              <a:rPr lang="en-US" sz="1900" dirty="0" err="1">
                <a:latin typeface="+mn-lt"/>
              </a:rPr>
              <a:t>std</a:t>
            </a:r>
            <a:r>
              <a:rPr lang="en-US" sz="1900" dirty="0">
                <a:latin typeface="+mn-lt"/>
              </a:rPr>
              <a:t>::</a:t>
            </a:r>
            <a:r>
              <a:rPr lang="en-US" sz="1900" dirty="0" err="1">
                <a:latin typeface="+mn-lt"/>
              </a:rPr>
              <a:t>shared_ptr</a:t>
            </a:r>
            <a:r>
              <a:rPr lang="en-US" sz="1900" dirty="0">
                <a:latin typeface="+mn-lt"/>
              </a:rPr>
              <a:t> is pointing to the resource, the resource will not be deallocated, even if individual </a:t>
            </a:r>
            <a:r>
              <a:rPr lang="en-US" sz="1900" dirty="0" err="1">
                <a:latin typeface="+mn-lt"/>
              </a:rPr>
              <a:t>std</a:t>
            </a:r>
            <a:r>
              <a:rPr lang="en-US" sz="1900" dirty="0">
                <a:latin typeface="+mn-lt"/>
              </a:rPr>
              <a:t>::</a:t>
            </a:r>
            <a:r>
              <a:rPr lang="en-US" sz="1900" dirty="0" err="1">
                <a:latin typeface="+mn-lt"/>
              </a:rPr>
              <a:t>shared_ptr</a:t>
            </a:r>
            <a:r>
              <a:rPr lang="en-US" sz="1900" dirty="0">
                <a:latin typeface="+mn-lt"/>
              </a:rPr>
              <a:t> are destroyed. As soon as the last </a:t>
            </a:r>
            <a:r>
              <a:rPr lang="en-US" sz="1900" dirty="0" err="1">
                <a:latin typeface="+mn-lt"/>
              </a:rPr>
              <a:t>std</a:t>
            </a:r>
            <a:r>
              <a:rPr lang="en-US" sz="1900" dirty="0">
                <a:latin typeface="+mn-lt"/>
              </a:rPr>
              <a:t>::</a:t>
            </a:r>
            <a:r>
              <a:rPr lang="en-US" sz="1900" dirty="0" err="1">
                <a:latin typeface="+mn-lt"/>
              </a:rPr>
              <a:t>shared_ptr</a:t>
            </a:r>
            <a:r>
              <a:rPr lang="en-US" sz="1900" dirty="0">
                <a:latin typeface="+mn-lt"/>
              </a:rPr>
              <a:t> managing the resource goes out of scope (or is reassigned to point at something else), the resource will be deallocated.</a:t>
            </a:r>
          </a:p>
          <a:p>
            <a:endParaRPr lang="en-US" altLang="en-US" sz="1900" dirty="0">
              <a:latin typeface="+mn-lt"/>
            </a:endParaRPr>
          </a:p>
          <a:p>
            <a:r>
              <a:rPr lang="en-US" altLang="en-US" sz="1900" dirty="0">
                <a:latin typeface="+mn-lt"/>
              </a:rPr>
              <a:t>If you don't need to share resources, </a:t>
            </a:r>
            <a:r>
              <a:rPr lang="en-US" altLang="en-US" sz="1900" b="1" dirty="0" err="1">
                <a:latin typeface="+mn-lt"/>
              </a:rPr>
              <a:t>unique_ptr</a:t>
            </a:r>
            <a:r>
              <a:rPr lang="en-US" altLang="en-US" sz="1900" b="1" dirty="0">
                <a:latin typeface="+mn-lt"/>
              </a:rPr>
              <a:t> </a:t>
            </a:r>
            <a:r>
              <a:rPr lang="en-US" altLang="en-US" sz="1900" dirty="0">
                <a:latin typeface="+mn-lt"/>
              </a:rPr>
              <a:t>is the right choice for you.</a:t>
            </a:r>
          </a:p>
          <a:p>
            <a:endParaRPr lang="en-US" altLang="en-US" sz="1900" dirty="0">
              <a:latin typeface="+mn-lt"/>
            </a:endParaRPr>
          </a:p>
        </p:txBody>
      </p:sp>
      <p:sp>
        <p:nvSpPr>
          <p:cNvPr id="12" name="Title 5"/>
          <p:cNvSpPr txBox="1">
            <a:spLocks/>
          </p:cNvSpPr>
          <p:nvPr/>
        </p:nvSpPr>
        <p:spPr bwMode="auto">
          <a:xfrm>
            <a:off x="417599" y="280988"/>
            <a:ext cx="3319513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100" b="1" dirty="0"/>
              <a:t>New Smart Pointer Classes</a:t>
            </a:r>
          </a:p>
        </p:txBody>
      </p:sp>
    </p:spTree>
    <p:extLst>
      <p:ext uri="{BB962C8B-B14F-4D97-AF65-F5344CB8AC3E}">
        <p14:creationId xmlns:p14="http://schemas.microsoft.com/office/powerpoint/2010/main" val="768698304"/>
      </p:ext>
    </p:extLst>
  </p:cSld>
  <p:clrMapOvr>
    <a:masterClrMapping/>
  </p:clrMapOvr>
  <p:transition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0" y="967788"/>
            <a:ext cx="8747915" cy="34693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dirty="0">
                <a:latin typeface="+mn-lt"/>
              </a:rPr>
              <a:t> void </a:t>
            </a:r>
            <a:r>
              <a:rPr lang="en-US" dirty="0" err="1">
                <a:latin typeface="+mn-lt"/>
              </a:rPr>
              <a:t>divisionFunction</a:t>
            </a:r>
            <a:r>
              <a:rPr lang="en-US" dirty="0">
                <a:latin typeface="+mn-lt"/>
              </a:rPr>
              <a:t>(</a:t>
            </a:r>
            <a:r>
              <a:rPr lang="en-US" dirty="0" err="1">
                <a:latin typeface="+mn-lt"/>
              </a:rPr>
              <a:t>int</a:t>
            </a:r>
            <a:r>
              <a:rPr lang="en-US" dirty="0">
                <a:latin typeface="+mn-lt"/>
              </a:rPr>
              <a:t> n)</a:t>
            </a:r>
          </a:p>
          <a:p>
            <a:r>
              <a:rPr lang="en-US" dirty="0">
                <a:latin typeface="+mn-lt"/>
              </a:rPr>
              <a:t>{// </a:t>
            </a:r>
            <a:r>
              <a:rPr lang="en-US" b="1" dirty="0">
                <a:latin typeface="+mn-lt"/>
              </a:rPr>
              <a:t>divide n with a number read from keyboard and store the result</a:t>
            </a:r>
          </a:p>
          <a:p>
            <a:r>
              <a:rPr lang="en-US" dirty="0">
                <a:latin typeface="+mn-lt"/>
              </a:rPr>
              <a:t>    </a:t>
            </a:r>
            <a:r>
              <a:rPr lang="en-US" dirty="0" err="1">
                <a:latin typeface="+mn-lt"/>
              </a:rPr>
              <a:t>shared_ptr</a:t>
            </a:r>
            <a:r>
              <a:rPr lang="en-US" dirty="0">
                <a:latin typeface="+mn-lt"/>
              </a:rPr>
              <a:t>&lt;Resource&gt; </a:t>
            </a:r>
            <a:r>
              <a:rPr lang="en-US" b="1" dirty="0" err="1">
                <a:latin typeface="+mn-lt"/>
              </a:rPr>
              <a:t>ptr</a:t>
            </a:r>
            <a:r>
              <a:rPr lang="en-US" dirty="0">
                <a:latin typeface="+mn-lt"/>
              </a:rPr>
              <a:t> = </a:t>
            </a:r>
            <a:r>
              <a:rPr lang="en-US" dirty="0" err="1">
                <a:latin typeface="+mn-lt"/>
              </a:rPr>
              <a:t>make_shared</a:t>
            </a:r>
            <a:r>
              <a:rPr lang="en-US" dirty="0">
                <a:latin typeface="+mn-lt"/>
              </a:rPr>
              <a:t>&lt;Resource&gt;();</a:t>
            </a:r>
          </a:p>
          <a:p>
            <a:r>
              <a:rPr lang="en-US" dirty="0">
                <a:latin typeface="+mn-lt"/>
              </a:rPr>
              <a:t>    </a:t>
            </a:r>
            <a:r>
              <a:rPr lang="en-US" dirty="0" err="1">
                <a:latin typeface="+mn-lt"/>
              </a:rPr>
              <a:t>int</a:t>
            </a:r>
            <a:r>
              <a:rPr lang="en-US" dirty="0">
                <a:latin typeface="+mn-lt"/>
              </a:rPr>
              <a:t> x;</a:t>
            </a:r>
          </a:p>
          <a:p>
            <a:r>
              <a:rPr lang="en-US" dirty="0">
                <a:latin typeface="+mn-lt"/>
              </a:rPr>
              <a:t>    </a:t>
            </a:r>
            <a:r>
              <a:rPr lang="en-US" dirty="0" err="1">
                <a:latin typeface="+mn-lt"/>
              </a:rPr>
              <a:t>cout</a:t>
            </a:r>
            <a:r>
              <a:rPr lang="en-US" dirty="0">
                <a:latin typeface="+mn-lt"/>
              </a:rPr>
              <a:t> &lt;&lt; "Enter an integer: ";</a:t>
            </a:r>
          </a:p>
          <a:p>
            <a:r>
              <a:rPr lang="en-US" dirty="0">
                <a:latin typeface="+mn-lt"/>
              </a:rPr>
              <a:t>    </a:t>
            </a:r>
            <a:r>
              <a:rPr lang="en-US" dirty="0" err="1">
                <a:latin typeface="+mn-lt"/>
              </a:rPr>
              <a:t>cin</a:t>
            </a:r>
            <a:r>
              <a:rPr lang="en-US" dirty="0">
                <a:latin typeface="+mn-lt"/>
              </a:rPr>
              <a:t> &gt;&gt; x;</a:t>
            </a:r>
          </a:p>
          <a:p>
            <a:r>
              <a:rPr lang="en-US" dirty="0">
                <a:latin typeface="+mn-lt"/>
              </a:rPr>
              <a:t> </a:t>
            </a:r>
          </a:p>
          <a:p>
            <a:r>
              <a:rPr lang="en-US" dirty="0">
                <a:latin typeface="+mn-lt"/>
              </a:rPr>
              <a:t>    if (x == 0)</a:t>
            </a:r>
          </a:p>
          <a:p>
            <a:r>
              <a:rPr lang="en-US" dirty="0">
                <a:latin typeface="+mn-lt"/>
              </a:rPr>
              <a:t>        return; // </a:t>
            </a:r>
            <a:r>
              <a:rPr lang="en-US" dirty="0">
                <a:solidFill>
                  <a:srgbClr val="FF0000"/>
                </a:solidFill>
                <a:latin typeface="+mn-lt"/>
              </a:rPr>
              <a:t>the function returns early, and </a:t>
            </a:r>
            <a:r>
              <a:rPr lang="en-US" b="1" u="sng" dirty="0" err="1">
                <a:solidFill>
                  <a:srgbClr val="FF0000"/>
                </a:solidFill>
                <a:latin typeface="+mn-lt"/>
              </a:rPr>
              <a:t>ptr</a:t>
            </a:r>
            <a:r>
              <a:rPr lang="en-US" dirty="0">
                <a:solidFill>
                  <a:srgbClr val="FF0000"/>
                </a:solidFill>
                <a:latin typeface="+mn-lt"/>
              </a:rPr>
              <a:t> will be deleted when out of scope</a:t>
            </a:r>
          </a:p>
          <a:p>
            <a:r>
              <a:rPr lang="en-US" dirty="0">
                <a:latin typeface="+mn-lt"/>
              </a:rPr>
              <a:t>    </a:t>
            </a:r>
          </a:p>
          <a:p>
            <a:r>
              <a:rPr lang="en-US" dirty="0">
                <a:latin typeface="+mn-lt"/>
              </a:rPr>
              <a:t>    // do stuff with </a:t>
            </a:r>
            <a:r>
              <a:rPr lang="en-US" b="1" dirty="0" err="1">
                <a:latin typeface="+mn-lt"/>
              </a:rPr>
              <a:t>ptr</a:t>
            </a:r>
            <a:r>
              <a:rPr lang="en-US" dirty="0">
                <a:latin typeface="+mn-lt"/>
              </a:rPr>
              <a:t> here</a:t>
            </a:r>
          </a:p>
          <a:p>
            <a:r>
              <a:rPr lang="en-US" dirty="0">
                <a:latin typeface="+mn-lt"/>
              </a:rPr>
              <a:t>}//</a:t>
            </a:r>
            <a:r>
              <a:rPr lang="en-US" b="1" u="sng" dirty="0">
                <a:solidFill>
                  <a:srgbClr val="FF0000"/>
                </a:solidFill>
              </a:rPr>
              <a:t> </a:t>
            </a:r>
            <a:r>
              <a:rPr lang="en-US" b="1" u="sng" dirty="0" err="1">
                <a:solidFill>
                  <a:srgbClr val="FF0000"/>
                </a:solidFill>
              </a:rPr>
              <a:t>ptr</a:t>
            </a:r>
            <a:r>
              <a:rPr lang="en-US" dirty="0">
                <a:solidFill>
                  <a:srgbClr val="FF0000"/>
                </a:solidFill>
              </a:rPr>
              <a:t> will be deleted when out of scope</a:t>
            </a:r>
            <a:endParaRPr lang="en-US" dirty="0">
              <a:effectLst/>
              <a:latin typeface="+mn-l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b="1" dirty="0"/>
              <a:t>Shared pointer problems</a:t>
            </a:r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752839766"/>
      </p:ext>
    </p:extLst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Picture 3"/>
          <p:cNvPicPr>
            <a:picLocks noChangeAspect="1"/>
          </p:cNvPicPr>
          <p:nvPr/>
        </p:nvPicPr>
        <p:blipFill>
          <a:blip r:embed="rId2" cstate="screen"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6371" y="2309278"/>
            <a:ext cx="3393014" cy="555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22772887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658444"/>
            <a:ext cx="7908818" cy="180740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1. Status program actual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2. Download from	</a:t>
            </a: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  <a:hlinkClick r:id="rId2"/>
              </a:rPr>
              <a:t>https://github.com/uvt2017cplusplus/labs</a:t>
            </a:r>
            <a:endParaRPr lang="en-US" sz="2100" dirty="0">
              <a:latin typeface="+mj-lt"/>
              <a:ea typeface="Nokia Pure Text" panose="020B0503020202020204" pitchFamily="34" charset="0"/>
              <a:cs typeface="Nokia Pure Headline Ligh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    file </a:t>
            </a:r>
            <a:r>
              <a:rPr lang="en-US" sz="1900" dirty="0">
                <a:latin typeface="+mj-lt"/>
                <a:hlinkClick r:id="rId3" tooltip="UVT_lab2_cplusplus.cpp"/>
              </a:rPr>
              <a:t>UVT_lab2_cplusplus.cpp</a:t>
            </a:r>
            <a:endParaRPr lang="en-US" sz="1900" dirty="0">
              <a:latin typeface="+mj-lt"/>
              <a:ea typeface="Nokia Pure Text" panose="020B0503020202020204" pitchFamily="34" charset="0"/>
              <a:cs typeface="Nokia Pure Headline Ligh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3. </a:t>
            </a:r>
            <a:r>
              <a:rPr lang="en-US" sz="2100" dirty="0">
                <a:latin typeface="+mj-lt"/>
              </a:rPr>
              <a:t>Make C arrays work with STL </a:t>
            </a:r>
            <a:r>
              <a:rPr lang="en-US" sz="2100" dirty="0" err="1">
                <a:latin typeface="+mj-lt"/>
              </a:rPr>
              <a:t>containters</a:t>
            </a:r>
            <a:r>
              <a:rPr lang="en-US" sz="2100" dirty="0">
                <a:latin typeface="+mj-lt"/>
              </a:rPr>
              <a:t> interface</a:t>
            </a:r>
            <a:endParaRPr lang="en-US" sz="2100" dirty="0">
              <a:latin typeface="+mj-lt"/>
              <a:ea typeface="Nokia Pure Text" panose="020B0503020202020204" pitchFamily="34" charset="0"/>
              <a:cs typeface="Nokia Pure Headline Light"/>
            </a:endParaRP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r>
              <a:rPr lang="en-US" sz="2100" dirty="0">
                <a:latin typeface="+mj-lt"/>
                <a:ea typeface="Nokia Pure Text" panose="020B0503020202020204" pitchFamily="34" charset="0"/>
                <a:cs typeface="Nokia Pure Headline Light"/>
              </a:rPr>
              <a:t>4. Smart pointers</a:t>
            </a: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200" dirty="0"/>
              <a:t>Lab 4 Agenda</a:t>
            </a:r>
          </a:p>
        </p:txBody>
      </p:sp>
    </p:spTree>
    <p:extLst>
      <p:ext uri="{BB962C8B-B14F-4D97-AF65-F5344CB8AC3E}">
        <p14:creationId xmlns:p14="http://schemas.microsoft.com/office/powerpoint/2010/main" val="114159516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6235" y="978546"/>
            <a:ext cx="8217320" cy="291539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dirty="0">
                <a:latin typeface="+mn-lt"/>
              </a:rPr>
              <a:t> </a:t>
            </a:r>
            <a:r>
              <a:rPr lang="en-US" dirty="0"/>
              <a:t> C++11 introduces free functions for </a:t>
            </a:r>
            <a:r>
              <a:rPr lang="en-US" dirty="0" err="1"/>
              <a:t>geting</a:t>
            </a:r>
            <a:r>
              <a:rPr lang="en-US" dirty="0"/>
              <a:t> begin and end iterator of container.</a:t>
            </a:r>
          </a:p>
          <a:p>
            <a:r>
              <a:rPr lang="en-US" dirty="0"/>
              <a:t>  It was required to keep same interface for </a:t>
            </a:r>
            <a:r>
              <a:rPr lang="en-US" dirty="0" err="1"/>
              <a:t>std</a:t>
            </a:r>
            <a:r>
              <a:rPr lang="en-US" dirty="0"/>
              <a:t> container and C arrays.</a:t>
            </a:r>
          </a:p>
          <a:p>
            <a:endParaRPr lang="en-US" dirty="0">
              <a:latin typeface="+mn-lt"/>
            </a:endParaRPr>
          </a:p>
          <a:p>
            <a:r>
              <a:rPr lang="en-US" dirty="0" err="1"/>
              <a:t>int</a:t>
            </a:r>
            <a:r>
              <a:rPr lang="en-US" dirty="0"/>
              <a:t> array[] = {1,2,3,4}; </a:t>
            </a:r>
          </a:p>
          <a:p>
            <a:r>
              <a:rPr lang="en-US" dirty="0"/>
              <a:t>for (auto it = </a:t>
            </a:r>
            <a:r>
              <a:rPr lang="en-US" dirty="0" err="1"/>
              <a:t>std</a:t>
            </a:r>
            <a:r>
              <a:rPr lang="en-US" dirty="0"/>
              <a:t>::begin(array); it &lt; </a:t>
            </a:r>
            <a:r>
              <a:rPr lang="en-US" dirty="0" err="1"/>
              <a:t>std</a:t>
            </a:r>
            <a:r>
              <a:rPr lang="en-US" dirty="0"/>
              <a:t>::end(array); ++it) </a:t>
            </a:r>
          </a:p>
          <a:p>
            <a:r>
              <a:rPr lang="en-US" dirty="0"/>
              <a:t>	</a:t>
            </a:r>
            <a:r>
              <a:rPr lang="en-US" dirty="0" err="1"/>
              <a:t>cout</a:t>
            </a:r>
            <a:r>
              <a:rPr lang="en-US" dirty="0"/>
              <a:t> &lt;&lt; ++(*it)&lt;&lt;</a:t>
            </a:r>
            <a:r>
              <a:rPr lang="en-US" dirty="0" err="1"/>
              <a:t>endl</a:t>
            </a:r>
            <a:r>
              <a:rPr lang="en-US" dirty="0"/>
              <a:t>;</a:t>
            </a:r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r>
              <a:rPr lang="en-US" dirty="0"/>
              <a:t>It allows us to use C arrays </a:t>
            </a:r>
            <a:r>
              <a:rPr lang="en-US" dirty="0" err="1"/>
              <a:t>exacly</a:t>
            </a:r>
            <a:r>
              <a:rPr lang="en-US" dirty="0"/>
              <a:t> same way STL as </a:t>
            </a:r>
            <a:r>
              <a:rPr lang="en-US" dirty="0" err="1"/>
              <a:t>containsers</a:t>
            </a:r>
            <a:endParaRPr lang="en-US" dirty="0"/>
          </a:p>
          <a:p>
            <a:r>
              <a:rPr lang="en-US" dirty="0" err="1"/>
              <a:t>int</a:t>
            </a:r>
            <a:r>
              <a:rPr lang="en-US" dirty="0"/>
              <a:t> array[] = {1,2,3,4,5}; </a:t>
            </a:r>
          </a:p>
          <a:p>
            <a:r>
              <a:rPr lang="en-US" dirty="0" err="1"/>
              <a:t>int</a:t>
            </a:r>
            <a:r>
              <a:rPr lang="en-US" dirty="0"/>
              <a:t> * i = </a:t>
            </a:r>
            <a:r>
              <a:rPr lang="en-US" dirty="0" err="1"/>
              <a:t>std</a:t>
            </a:r>
            <a:r>
              <a:rPr lang="en-US" dirty="0"/>
              <a:t>::find(</a:t>
            </a:r>
            <a:r>
              <a:rPr lang="en-US" dirty="0" err="1"/>
              <a:t>std</a:t>
            </a:r>
            <a:r>
              <a:rPr lang="en-US" dirty="0"/>
              <a:t>::begin(array), </a:t>
            </a:r>
            <a:r>
              <a:rPr lang="en-US" dirty="0" err="1"/>
              <a:t>std</a:t>
            </a:r>
            <a:r>
              <a:rPr lang="en-US" dirty="0"/>
              <a:t>::end(array), 3);</a:t>
            </a:r>
            <a:endParaRPr lang="en-US" dirty="0">
              <a:latin typeface="+mn-l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7672152" cy="35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/>
              <a:t>Make C arrays work with STL </a:t>
            </a:r>
            <a:r>
              <a:rPr lang="en-US" sz="2400" dirty="0" err="1"/>
              <a:t>containters</a:t>
            </a:r>
            <a:r>
              <a:rPr lang="en-US" sz="2400" dirty="0"/>
              <a:t> interface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56257583"/>
      </p:ext>
    </p:extLst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6235" y="978546"/>
            <a:ext cx="8217320" cy="34693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dirty="0">
                <a:latin typeface="+mn-lt"/>
              </a:rPr>
              <a:t> </a:t>
            </a:r>
            <a:r>
              <a:rPr lang="en-US" dirty="0"/>
              <a:t> C++11 introduces free functions for </a:t>
            </a:r>
            <a:r>
              <a:rPr lang="en-US" dirty="0" err="1"/>
              <a:t>geting</a:t>
            </a:r>
            <a:r>
              <a:rPr lang="en-US" dirty="0"/>
              <a:t> begin and end iterator of container.</a:t>
            </a:r>
          </a:p>
          <a:p>
            <a:r>
              <a:rPr lang="en-US" dirty="0"/>
              <a:t>  </a:t>
            </a:r>
            <a:r>
              <a:rPr lang="en-US" dirty="0">
                <a:solidFill>
                  <a:srgbClr val="FF0000"/>
                </a:solidFill>
              </a:rPr>
              <a:t>A container is a holder object that stores a collection of other objects (its        elements).</a:t>
            </a:r>
          </a:p>
          <a:p>
            <a:endParaRPr lang="en-US" dirty="0">
              <a:solidFill>
                <a:srgbClr val="FF0000"/>
              </a:solidFill>
            </a:endParaRPr>
          </a:p>
          <a:p>
            <a:r>
              <a:rPr lang="en-US" b="1" dirty="0"/>
              <a:t>It was required to keep same interface for </a:t>
            </a:r>
            <a:r>
              <a:rPr lang="en-US" b="1" dirty="0" err="1"/>
              <a:t>std</a:t>
            </a:r>
            <a:r>
              <a:rPr lang="en-US" b="1" dirty="0"/>
              <a:t> container and C arrays.</a:t>
            </a:r>
            <a:endParaRPr lang="en-US" b="1" dirty="0">
              <a:latin typeface="+mn-lt"/>
            </a:endParaRPr>
          </a:p>
          <a:p>
            <a:r>
              <a:rPr lang="en-US" dirty="0" err="1"/>
              <a:t>int</a:t>
            </a:r>
            <a:r>
              <a:rPr lang="en-US" dirty="0"/>
              <a:t> array[] = {1,2,3,4}; </a:t>
            </a:r>
          </a:p>
          <a:p>
            <a:r>
              <a:rPr lang="en-US" dirty="0"/>
              <a:t>for (auto it = </a:t>
            </a:r>
            <a:r>
              <a:rPr lang="en-US" dirty="0" err="1"/>
              <a:t>std</a:t>
            </a:r>
            <a:r>
              <a:rPr lang="en-US" dirty="0"/>
              <a:t>::begin(array); it &lt; </a:t>
            </a:r>
            <a:r>
              <a:rPr lang="en-US" dirty="0" err="1"/>
              <a:t>std</a:t>
            </a:r>
            <a:r>
              <a:rPr lang="en-US" dirty="0"/>
              <a:t>::end(array); ++it) </a:t>
            </a:r>
          </a:p>
          <a:p>
            <a:r>
              <a:rPr lang="en-US" dirty="0"/>
              <a:t>	</a:t>
            </a:r>
            <a:r>
              <a:rPr lang="en-US" dirty="0" err="1"/>
              <a:t>cout</a:t>
            </a:r>
            <a:r>
              <a:rPr lang="en-US" dirty="0"/>
              <a:t> &lt;&lt; ++(*it)&lt;&lt;</a:t>
            </a:r>
            <a:r>
              <a:rPr lang="en-US" dirty="0" err="1"/>
              <a:t>endl</a:t>
            </a:r>
            <a:r>
              <a:rPr lang="en-US" dirty="0"/>
              <a:t>;</a:t>
            </a:r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r>
              <a:rPr lang="en-US" b="1" dirty="0"/>
              <a:t>It allows us to use C arrays </a:t>
            </a:r>
            <a:r>
              <a:rPr lang="en-US" b="1" dirty="0" err="1"/>
              <a:t>exacly</a:t>
            </a:r>
            <a:r>
              <a:rPr lang="en-US" b="1" dirty="0"/>
              <a:t> same way STL as </a:t>
            </a:r>
            <a:r>
              <a:rPr lang="en-US" b="1" dirty="0" err="1"/>
              <a:t>containsers</a:t>
            </a:r>
            <a:r>
              <a:rPr lang="en-US" b="1" dirty="0"/>
              <a:t>:</a:t>
            </a:r>
          </a:p>
          <a:p>
            <a:r>
              <a:rPr lang="en-US" dirty="0" err="1"/>
              <a:t>int</a:t>
            </a:r>
            <a:r>
              <a:rPr lang="en-US" dirty="0"/>
              <a:t> array[] = {1,2,3,4,5}; </a:t>
            </a:r>
          </a:p>
          <a:p>
            <a:r>
              <a:rPr lang="en-US" dirty="0" err="1"/>
              <a:t>int</a:t>
            </a:r>
            <a:r>
              <a:rPr lang="en-US" dirty="0"/>
              <a:t> * i = </a:t>
            </a:r>
            <a:r>
              <a:rPr lang="en-US" dirty="0" err="1"/>
              <a:t>std</a:t>
            </a:r>
            <a:r>
              <a:rPr lang="en-US" dirty="0"/>
              <a:t>::find(</a:t>
            </a:r>
            <a:r>
              <a:rPr lang="en-US" dirty="0" err="1"/>
              <a:t>std</a:t>
            </a:r>
            <a:r>
              <a:rPr lang="en-US" dirty="0"/>
              <a:t>::begin(array), </a:t>
            </a:r>
            <a:r>
              <a:rPr lang="en-US" dirty="0" err="1"/>
              <a:t>std</a:t>
            </a:r>
            <a:r>
              <a:rPr lang="en-US" dirty="0"/>
              <a:t>::end(array), 3);</a:t>
            </a:r>
            <a:endParaRPr lang="en-US" dirty="0">
              <a:latin typeface="+mn-l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7672152" cy="35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/>
              <a:t>Make C arrays work with STL </a:t>
            </a:r>
            <a:r>
              <a:rPr lang="en-US" sz="2400" dirty="0" err="1"/>
              <a:t>containters</a:t>
            </a:r>
            <a:r>
              <a:rPr lang="en-US" sz="2400" dirty="0"/>
              <a:t> interface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456152670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6235" y="978546"/>
            <a:ext cx="8217320" cy="294617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dirty="0">
                <a:latin typeface="+mn-lt"/>
              </a:rPr>
              <a:t> </a:t>
            </a:r>
            <a:r>
              <a:rPr lang="en-US" dirty="0"/>
              <a:t> C++11 introduces free functions for </a:t>
            </a:r>
            <a:r>
              <a:rPr lang="en-US" dirty="0" err="1"/>
              <a:t>geting</a:t>
            </a:r>
            <a:r>
              <a:rPr lang="en-US" dirty="0"/>
              <a:t> begin and end iterator of container. </a:t>
            </a:r>
          </a:p>
          <a:p>
            <a:endParaRPr lang="en-US" dirty="0"/>
          </a:p>
          <a:p>
            <a:r>
              <a:rPr lang="en-US" b="1" dirty="0"/>
              <a:t>It was required to keep same interface for </a:t>
            </a:r>
            <a:r>
              <a:rPr lang="en-US" b="1" dirty="0" err="1"/>
              <a:t>std</a:t>
            </a:r>
            <a:r>
              <a:rPr lang="en-US" b="1" dirty="0"/>
              <a:t> container and C arrays:</a:t>
            </a:r>
          </a:p>
          <a:p>
            <a:r>
              <a:rPr lang="en-US" dirty="0" err="1"/>
              <a:t>int</a:t>
            </a:r>
            <a:r>
              <a:rPr lang="en-US" dirty="0"/>
              <a:t> array[] = {1,2,3,4}; </a:t>
            </a:r>
          </a:p>
          <a:p>
            <a:r>
              <a:rPr lang="en-US" dirty="0"/>
              <a:t>for (auto it = </a:t>
            </a:r>
            <a:r>
              <a:rPr lang="en-US" dirty="0" err="1"/>
              <a:t>std</a:t>
            </a:r>
            <a:r>
              <a:rPr lang="en-US" dirty="0"/>
              <a:t>::begin(array); it &lt; </a:t>
            </a:r>
            <a:r>
              <a:rPr lang="en-US" dirty="0" err="1"/>
              <a:t>std</a:t>
            </a:r>
            <a:r>
              <a:rPr lang="en-US" dirty="0"/>
              <a:t>::end(array); ++it) </a:t>
            </a:r>
          </a:p>
          <a:p>
            <a:r>
              <a:rPr lang="en-US" dirty="0"/>
              <a:t>	</a:t>
            </a:r>
            <a:r>
              <a:rPr lang="en-US" dirty="0" err="1"/>
              <a:t>cout</a:t>
            </a:r>
            <a:r>
              <a:rPr lang="en-US" dirty="0"/>
              <a:t> &lt;&lt; ++(*it)&lt;&lt;</a:t>
            </a:r>
            <a:r>
              <a:rPr lang="en-US" dirty="0" err="1"/>
              <a:t>endl</a:t>
            </a:r>
            <a:r>
              <a:rPr lang="en-US" sz="2000" dirty="0">
                <a:solidFill>
                  <a:srgbClr val="FF0000"/>
                </a:solidFill>
                <a:latin typeface="+mn-lt"/>
              </a:rPr>
              <a:t>;//2,3,4,5</a:t>
            </a:r>
            <a:endParaRPr lang="en-US" sz="2000" dirty="0">
              <a:solidFill>
                <a:srgbClr val="FF0000"/>
              </a:solidFill>
              <a:latin typeface="+mn-lt"/>
            </a:endParaRPr>
          </a:p>
          <a:p>
            <a:endParaRPr lang="en-US" dirty="0">
              <a:latin typeface="+mn-lt"/>
            </a:endParaRPr>
          </a:p>
          <a:p>
            <a:r>
              <a:rPr lang="en-US" b="1" dirty="0"/>
              <a:t>It allows us to use C arrays </a:t>
            </a:r>
            <a:r>
              <a:rPr lang="en-US" b="1" dirty="0" err="1"/>
              <a:t>exacly</a:t>
            </a:r>
            <a:r>
              <a:rPr lang="en-US" b="1" dirty="0"/>
              <a:t> same way STL as </a:t>
            </a:r>
            <a:r>
              <a:rPr lang="en-US" b="1" dirty="0" err="1"/>
              <a:t>containsers</a:t>
            </a:r>
            <a:r>
              <a:rPr lang="en-US" b="1" dirty="0"/>
              <a:t>:</a:t>
            </a:r>
          </a:p>
          <a:p>
            <a:r>
              <a:rPr lang="en-US" dirty="0" err="1"/>
              <a:t>int</a:t>
            </a:r>
            <a:r>
              <a:rPr lang="en-US" dirty="0"/>
              <a:t> array[] = {1,2,3,4,5}; </a:t>
            </a:r>
          </a:p>
          <a:p>
            <a:r>
              <a:rPr lang="en-US" dirty="0" err="1"/>
              <a:t>int</a:t>
            </a:r>
            <a:r>
              <a:rPr lang="en-US" dirty="0"/>
              <a:t> * i = </a:t>
            </a:r>
            <a:r>
              <a:rPr lang="en-US" dirty="0" err="1"/>
              <a:t>std</a:t>
            </a:r>
            <a:r>
              <a:rPr lang="en-US" dirty="0"/>
              <a:t>::find(</a:t>
            </a:r>
            <a:r>
              <a:rPr lang="en-US" dirty="0" err="1"/>
              <a:t>std</a:t>
            </a:r>
            <a:r>
              <a:rPr lang="en-US" dirty="0"/>
              <a:t>::begin(array), </a:t>
            </a:r>
            <a:r>
              <a:rPr lang="en-US" dirty="0" err="1"/>
              <a:t>std</a:t>
            </a:r>
            <a:r>
              <a:rPr lang="en-US" dirty="0"/>
              <a:t>::end(array), 3);</a:t>
            </a:r>
            <a:endParaRPr lang="en-US" dirty="0">
              <a:latin typeface="+mn-l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7672152" cy="35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/>
              <a:t>Make C arrays work with STL </a:t>
            </a:r>
            <a:r>
              <a:rPr lang="en-US" sz="2400" dirty="0" err="1"/>
              <a:t>containters</a:t>
            </a:r>
            <a:r>
              <a:rPr lang="en-US" sz="2400" dirty="0"/>
              <a:t> interface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399247737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6235" y="978546"/>
            <a:ext cx="8217320" cy="297695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dirty="0">
                <a:latin typeface="+mn-lt"/>
              </a:rPr>
              <a:t> </a:t>
            </a:r>
            <a:r>
              <a:rPr lang="en-US" dirty="0"/>
              <a:t> C++11 introduces free functions for </a:t>
            </a:r>
            <a:r>
              <a:rPr lang="en-US" dirty="0" err="1"/>
              <a:t>geting</a:t>
            </a:r>
            <a:r>
              <a:rPr lang="en-US" dirty="0"/>
              <a:t> begin and end iterator of container. </a:t>
            </a:r>
          </a:p>
          <a:p>
            <a:endParaRPr lang="en-US" dirty="0"/>
          </a:p>
          <a:p>
            <a:r>
              <a:rPr lang="en-US" b="1" dirty="0"/>
              <a:t>It was required to keep same interface for </a:t>
            </a:r>
            <a:r>
              <a:rPr lang="en-US" b="1" dirty="0" err="1"/>
              <a:t>std</a:t>
            </a:r>
            <a:r>
              <a:rPr lang="en-US" b="1" dirty="0"/>
              <a:t> container and C arrays:</a:t>
            </a:r>
            <a:endParaRPr lang="en-US" b="1" dirty="0">
              <a:latin typeface="+mn-lt"/>
            </a:endParaRPr>
          </a:p>
          <a:p>
            <a:r>
              <a:rPr lang="en-US" dirty="0" err="1"/>
              <a:t>int</a:t>
            </a:r>
            <a:r>
              <a:rPr lang="en-US" dirty="0"/>
              <a:t> array[] = {1,2,3,4}; </a:t>
            </a:r>
          </a:p>
          <a:p>
            <a:r>
              <a:rPr lang="en-US" dirty="0"/>
              <a:t>for (auto it = </a:t>
            </a:r>
            <a:r>
              <a:rPr lang="en-US" dirty="0" err="1"/>
              <a:t>std</a:t>
            </a:r>
            <a:r>
              <a:rPr lang="en-US" dirty="0"/>
              <a:t>::begin(array); it &lt; </a:t>
            </a:r>
            <a:r>
              <a:rPr lang="en-US" dirty="0" err="1"/>
              <a:t>std</a:t>
            </a:r>
            <a:r>
              <a:rPr lang="en-US" dirty="0"/>
              <a:t>::end(array); ++it) </a:t>
            </a:r>
          </a:p>
          <a:p>
            <a:r>
              <a:rPr lang="en-US" dirty="0"/>
              <a:t>	</a:t>
            </a:r>
            <a:r>
              <a:rPr lang="en-US" dirty="0" err="1"/>
              <a:t>cout</a:t>
            </a:r>
            <a:r>
              <a:rPr lang="en-US" dirty="0"/>
              <a:t> &lt;&lt; ++(*it)&lt;&lt;</a:t>
            </a:r>
            <a:r>
              <a:rPr lang="en-US" dirty="0" err="1"/>
              <a:t>endl</a:t>
            </a:r>
            <a:r>
              <a:rPr lang="en-US" sz="2000" dirty="0">
                <a:solidFill>
                  <a:srgbClr val="FF0000"/>
                </a:solidFill>
                <a:latin typeface="+mn-lt"/>
              </a:rPr>
              <a:t>;//2,3,4,5</a:t>
            </a:r>
            <a:endParaRPr lang="en-US" sz="2000" dirty="0">
              <a:solidFill>
                <a:srgbClr val="FF0000"/>
              </a:solidFill>
              <a:latin typeface="+mn-lt"/>
            </a:endParaRPr>
          </a:p>
          <a:p>
            <a:endParaRPr lang="en-US" dirty="0">
              <a:latin typeface="+mn-lt"/>
            </a:endParaRPr>
          </a:p>
          <a:p>
            <a:r>
              <a:rPr lang="en-US" b="1" dirty="0"/>
              <a:t>It allows us to use C arrays </a:t>
            </a:r>
            <a:r>
              <a:rPr lang="en-US" b="1" dirty="0" err="1"/>
              <a:t>exacly</a:t>
            </a:r>
            <a:r>
              <a:rPr lang="en-US" b="1" dirty="0"/>
              <a:t> same way STL as </a:t>
            </a:r>
            <a:r>
              <a:rPr lang="en-US" b="1" dirty="0" err="1"/>
              <a:t>containsers</a:t>
            </a:r>
            <a:r>
              <a:rPr lang="en-US" b="1" dirty="0"/>
              <a:t>:</a:t>
            </a:r>
          </a:p>
          <a:p>
            <a:r>
              <a:rPr lang="en-US" dirty="0" err="1"/>
              <a:t>int</a:t>
            </a:r>
            <a:r>
              <a:rPr lang="en-US" dirty="0"/>
              <a:t> array[] = {1,2,3,4,5}; </a:t>
            </a:r>
          </a:p>
          <a:p>
            <a:r>
              <a:rPr lang="en-US" dirty="0" err="1"/>
              <a:t>int</a:t>
            </a:r>
            <a:r>
              <a:rPr lang="en-US" dirty="0"/>
              <a:t> * i = </a:t>
            </a:r>
            <a:r>
              <a:rPr lang="en-US" dirty="0" err="1"/>
              <a:t>std</a:t>
            </a:r>
            <a:r>
              <a:rPr lang="en-US" dirty="0"/>
              <a:t>::find(</a:t>
            </a:r>
            <a:r>
              <a:rPr lang="en-US" dirty="0" err="1"/>
              <a:t>std</a:t>
            </a:r>
            <a:r>
              <a:rPr lang="en-US" dirty="0"/>
              <a:t>::begin(array), </a:t>
            </a:r>
            <a:r>
              <a:rPr lang="en-US" dirty="0" err="1"/>
              <a:t>std</a:t>
            </a:r>
            <a:r>
              <a:rPr lang="en-US" dirty="0"/>
              <a:t>::end(array), 3);</a:t>
            </a:r>
            <a:r>
              <a:rPr lang="en-US" sz="2000" dirty="0">
                <a:solidFill>
                  <a:srgbClr val="FF0000"/>
                </a:solidFill>
                <a:latin typeface="+mj-lt"/>
              </a:rPr>
              <a:t>//3</a:t>
            </a:r>
            <a:endParaRPr lang="en-US" sz="20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7672152" cy="35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dirty="0"/>
              <a:t>Make C arrays work with STL </a:t>
            </a:r>
            <a:r>
              <a:rPr lang="en-US" sz="2400" dirty="0" err="1"/>
              <a:t>containters</a:t>
            </a:r>
            <a:r>
              <a:rPr lang="en-US" sz="2400" dirty="0"/>
              <a:t> interface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93669930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967788"/>
            <a:ext cx="8217320" cy="402339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dirty="0">
                <a:latin typeface="+mn-lt"/>
              </a:rPr>
              <a:t> void </a:t>
            </a:r>
            <a:r>
              <a:rPr lang="en-US" dirty="0" err="1">
                <a:latin typeface="+mn-lt"/>
              </a:rPr>
              <a:t>divisionFunction</a:t>
            </a:r>
            <a:r>
              <a:rPr lang="en-US" dirty="0">
                <a:latin typeface="+mn-lt"/>
              </a:rPr>
              <a:t>(</a:t>
            </a:r>
            <a:r>
              <a:rPr lang="en-US" dirty="0" err="1">
                <a:latin typeface="+mn-lt"/>
              </a:rPr>
              <a:t>int</a:t>
            </a:r>
            <a:r>
              <a:rPr lang="en-US" dirty="0">
                <a:latin typeface="+mn-lt"/>
              </a:rPr>
              <a:t> n)</a:t>
            </a:r>
          </a:p>
          <a:p>
            <a:r>
              <a:rPr lang="en-US" dirty="0">
                <a:latin typeface="+mn-lt"/>
              </a:rPr>
              <a:t>{// </a:t>
            </a:r>
            <a:r>
              <a:rPr lang="en-US" b="1" dirty="0">
                <a:latin typeface="+mn-lt"/>
              </a:rPr>
              <a:t>divide n with a number read from keyboard and store the result</a:t>
            </a:r>
          </a:p>
          <a:p>
            <a:r>
              <a:rPr lang="en-US" dirty="0">
                <a:latin typeface="+mn-lt"/>
              </a:rPr>
              <a:t>    Resource *</a:t>
            </a:r>
            <a:r>
              <a:rPr lang="en-US" b="1" dirty="0" err="1">
                <a:latin typeface="+mn-lt"/>
              </a:rPr>
              <a:t>ptr</a:t>
            </a:r>
            <a:r>
              <a:rPr lang="en-US" dirty="0">
                <a:latin typeface="+mn-lt"/>
              </a:rPr>
              <a:t> = new Resource;</a:t>
            </a:r>
          </a:p>
          <a:p>
            <a:r>
              <a:rPr lang="en-US" dirty="0">
                <a:latin typeface="+mn-lt"/>
              </a:rPr>
              <a:t>    </a:t>
            </a:r>
            <a:r>
              <a:rPr lang="en-US" dirty="0" err="1">
                <a:latin typeface="+mn-lt"/>
              </a:rPr>
              <a:t>int</a:t>
            </a:r>
            <a:r>
              <a:rPr lang="en-US" dirty="0">
                <a:latin typeface="+mn-lt"/>
              </a:rPr>
              <a:t> x;</a:t>
            </a:r>
          </a:p>
          <a:p>
            <a:r>
              <a:rPr lang="en-US" dirty="0">
                <a:latin typeface="+mn-lt"/>
              </a:rPr>
              <a:t>    </a:t>
            </a:r>
            <a:r>
              <a:rPr lang="en-US" dirty="0" err="1">
                <a:latin typeface="+mn-lt"/>
              </a:rPr>
              <a:t>cout</a:t>
            </a:r>
            <a:r>
              <a:rPr lang="en-US" dirty="0">
                <a:latin typeface="+mn-lt"/>
              </a:rPr>
              <a:t> &lt;&lt; "Enter an integer: ";</a:t>
            </a:r>
          </a:p>
          <a:p>
            <a:r>
              <a:rPr lang="en-US" dirty="0">
                <a:latin typeface="+mn-lt"/>
              </a:rPr>
              <a:t>    </a:t>
            </a:r>
            <a:r>
              <a:rPr lang="en-US" dirty="0" err="1">
                <a:latin typeface="+mn-lt"/>
              </a:rPr>
              <a:t>cin</a:t>
            </a:r>
            <a:r>
              <a:rPr lang="en-US" dirty="0">
                <a:latin typeface="+mn-lt"/>
              </a:rPr>
              <a:t> &gt;&gt; x;</a:t>
            </a:r>
          </a:p>
          <a:p>
            <a:r>
              <a:rPr lang="en-US" dirty="0">
                <a:latin typeface="+mn-lt"/>
              </a:rPr>
              <a:t> </a:t>
            </a:r>
          </a:p>
          <a:p>
            <a:r>
              <a:rPr lang="en-US" dirty="0">
                <a:latin typeface="+mn-lt"/>
              </a:rPr>
              <a:t>    if (x == 0)</a:t>
            </a:r>
          </a:p>
          <a:p>
            <a:r>
              <a:rPr lang="en-US" dirty="0">
                <a:latin typeface="+mn-lt"/>
              </a:rPr>
              <a:t>        return;</a:t>
            </a:r>
          </a:p>
          <a:p>
            <a:r>
              <a:rPr lang="en-US" dirty="0">
                <a:latin typeface="+mn-lt"/>
              </a:rPr>
              <a:t>    </a:t>
            </a:r>
          </a:p>
          <a:p>
            <a:r>
              <a:rPr lang="en-US" dirty="0">
                <a:latin typeface="+mn-lt"/>
              </a:rPr>
              <a:t>    // do stuff with </a:t>
            </a:r>
            <a:r>
              <a:rPr lang="en-US" b="1" dirty="0" err="1">
                <a:latin typeface="+mn-lt"/>
              </a:rPr>
              <a:t>ptr</a:t>
            </a:r>
            <a:r>
              <a:rPr lang="en-US" dirty="0">
                <a:latin typeface="+mn-lt"/>
              </a:rPr>
              <a:t> here</a:t>
            </a:r>
          </a:p>
          <a:p>
            <a:r>
              <a:rPr lang="en-US" dirty="0">
                <a:latin typeface="+mn-lt"/>
              </a:rPr>
              <a:t> </a:t>
            </a:r>
          </a:p>
          <a:p>
            <a:r>
              <a:rPr lang="en-US" dirty="0">
                <a:latin typeface="+mn-lt"/>
              </a:rPr>
              <a:t>    delete </a:t>
            </a:r>
            <a:r>
              <a:rPr lang="en-US" b="1" dirty="0" err="1">
                <a:latin typeface="+mn-lt"/>
              </a:rPr>
              <a:t>ptr</a:t>
            </a:r>
            <a:r>
              <a:rPr lang="en-US" dirty="0">
                <a:latin typeface="+mn-lt"/>
              </a:rPr>
              <a:t>;</a:t>
            </a:r>
          </a:p>
          <a:p>
            <a:r>
              <a:rPr lang="en-US" dirty="0">
                <a:latin typeface="+mn-lt"/>
              </a:rPr>
              <a:t>}</a:t>
            </a:r>
            <a:endParaRPr lang="en-US" dirty="0">
              <a:effectLst/>
              <a:latin typeface="+mn-l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b="1" dirty="0"/>
              <a:t>Raw pointer problems</a:t>
            </a:r>
          </a:p>
        </p:txBody>
      </p:sp>
    </p:spTree>
    <p:extLst>
      <p:ext uri="{BB962C8B-B14F-4D97-AF65-F5344CB8AC3E}">
        <p14:creationId xmlns:p14="http://schemas.microsoft.com/office/powerpoint/2010/main" val="701597688"/>
      </p:ext>
    </p:extLst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967788"/>
            <a:ext cx="8217320" cy="402339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dirty="0">
                <a:latin typeface="+mn-lt"/>
              </a:rPr>
              <a:t> void </a:t>
            </a:r>
            <a:r>
              <a:rPr lang="en-US" dirty="0" err="1">
                <a:latin typeface="+mn-lt"/>
              </a:rPr>
              <a:t>divisionFunction</a:t>
            </a:r>
            <a:r>
              <a:rPr lang="en-US" dirty="0">
                <a:latin typeface="+mn-lt"/>
              </a:rPr>
              <a:t>(</a:t>
            </a:r>
            <a:r>
              <a:rPr lang="en-US" dirty="0" err="1">
                <a:latin typeface="+mn-lt"/>
              </a:rPr>
              <a:t>int</a:t>
            </a:r>
            <a:r>
              <a:rPr lang="en-US" dirty="0">
                <a:latin typeface="+mn-lt"/>
              </a:rPr>
              <a:t> n)</a:t>
            </a:r>
          </a:p>
          <a:p>
            <a:r>
              <a:rPr lang="en-US" dirty="0">
                <a:latin typeface="+mn-lt"/>
              </a:rPr>
              <a:t>{// </a:t>
            </a:r>
            <a:r>
              <a:rPr lang="en-US" b="1" dirty="0">
                <a:latin typeface="+mn-lt"/>
              </a:rPr>
              <a:t>divide n with a number read from keyboard and store the result</a:t>
            </a:r>
          </a:p>
          <a:p>
            <a:r>
              <a:rPr lang="en-US" dirty="0">
                <a:latin typeface="+mn-lt"/>
              </a:rPr>
              <a:t>    Resource *</a:t>
            </a:r>
            <a:r>
              <a:rPr lang="en-US" b="1" dirty="0" err="1">
                <a:latin typeface="+mn-lt"/>
              </a:rPr>
              <a:t>ptr</a:t>
            </a:r>
            <a:r>
              <a:rPr lang="en-US" dirty="0">
                <a:latin typeface="+mn-lt"/>
              </a:rPr>
              <a:t> = new Resource;</a:t>
            </a:r>
          </a:p>
          <a:p>
            <a:r>
              <a:rPr lang="en-US" dirty="0">
                <a:latin typeface="+mn-lt"/>
              </a:rPr>
              <a:t>    </a:t>
            </a:r>
            <a:r>
              <a:rPr lang="en-US" dirty="0" err="1">
                <a:latin typeface="+mn-lt"/>
              </a:rPr>
              <a:t>int</a:t>
            </a:r>
            <a:r>
              <a:rPr lang="en-US" dirty="0">
                <a:latin typeface="+mn-lt"/>
              </a:rPr>
              <a:t> x;</a:t>
            </a:r>
          </a:p>
          <a:p>
            <a:r>
              <a:rPr lang="en-US" dirty="0">
                <a:latin typeface="+mn-lt"/>
              </a:rPr>
              <a:t>    </a:t>
            </a:r>
            <a:r>
              <a:rPr lang="en-US" dirty="0" err="1">
                <a:latin typeface="+mn-lt"/>
              </a:rPr>
              <a:t>cout</a:t>
            </a:r>
            <a:r>
              <a:rPr lang="en-US" dirty="0">
                <a:latin typeface="+mn-lt"/>
              </a:rPr>
              <a:t> &lt;&lt; "Enter an integer: ";</a:t>
            </a:r>
          </a:p>
          <a:p>
            <a:r>
              <a:rPr lang="en-US" dirty="0">
                <a:latin typeface="+mn-lt"/>
              </a:rPr>
              <a:t>    </a:t>
            </a:r>
            <a:r>
              <a:rPr lang="en-US" dirty="0" err="1">
                <a:latin typeface="+mn-lt"/>
              </a:rPr>
              <a:t>cin</a:t>
            </a:r>
            <a:r>
              <a:rPr lang="en-US" dirty="0">
                <a:latin typeface="+mn-lt"/>
              </a:rPr>
              <a:t> &gt;&gt; x;</a:t>
            </a:r>
          </a:p>
          <a:p>
            <a:r>
              <a:rPr lang="en-US" dirty="0">
                <a:latin typeface="+mn-lt"/>
              </a:rPr>
              <a:t> </a:t>
            </a:r>
          </a:p>
          <a:p>
            <a:r>
              <a:rPr lang="en-US" dirty="0">
                <a:latin typeface="+mn-lt"/>
              </a:rPr>
              <a:t>    if (x == 0)</a:t>
            </a:r>
          </a:p>
          <a:p>
            <a:r>
              <a:rPr lang="en-US" dirty="0">
                <a:latin typeface="+mn-lt"/>
              </a:rPr>
              <a:t>        return; // </a:t>
            </a:r>
            <a:r>
              <a:rPr lang="en-US" dirty="0">
                <a:solidFill>
                  <a:srgbClr val="FF0000"/>
                </a:solidFill>
                <a:latin typeface="+mn-lt"/>
              </a:rPr>
              <a:t>the function returns early, and </a:t>
            </a:r>
            <a:r>
              <a:rPr lang="en-US" b="1" u="sng" dirty="0" err="1">
                <a:solidFill>
                  <a:srgbClr val="FF0000"/>
                </a:solidFill>
                <a:latin typeface="+mn-lt"/>
              </a:rPr>
              <a:t>ptr</a:t>
            </a:r>
            <a:r>
              <a:rPr lang="en-US" dirty="0">
                <a:solidFill>
                  <a:srgbClr val="FF0000"/>
                </a:solidFill>
                <a:latin typeface="+mn-lt"/>
              </a:rPr>
              <a:t> won’t be deleted!</a:t>
            </a:r>
          </a:p>
          <a:p>
            <a:r>
              <a:rPr lang="en-US" dirty="0">
                <a:latin typeface="+mn-lt"/>
              </a:rPr>
              <a:t>    </a:t>
            </a:r>
          </a:p>
          <a:p>
            <a:r>
              <a:rPr lang="en-US" dirty="0">
                <a:latin typeface="+mn-lt"/>
              </a:rPr>
              <a:t>    // do stuff with </a:t>
            </a:r>
            <a:r>
              <a:rPr lang="en-US" b="1" dirty="0" err="1">
                <a:latin typeface="+mn-lt"/>
              </a:rPr>
              <a:t>ptr</a:t>
            </a:r>
            <a:r>
              <a:rPr lang="en-US" dirty="0">
                <a:latin typeface="+mn-lt"/>
              </a:rPr>
              <a:t> here</a:t>
            </a:r>
          </a:p>
          <a:p>
            <a:r>
              <a:rPr lang="en-US" dirty="0">
                <a:latin typeface="+mn-lt"/>
              </a:rPr>
              <a:t> </a:t>
            </a:r>
          </a:p>
          <a:p>
            <a:r>
              <a:rPr lang="en-US" dirty="0">
                <a:latin typeface="+mn-lt"/>
              </a:rPr>
              <a:t>    delete </a:t>
            </a:r>
            <a:r>
              <a:rPr lang="en-US" b="1" dirty="0" err="1">
                <a:latin typeface="+mn-lt"/>
              </a:rPr>
              <a:t>ptr</a:t>
            </a:r>
            <a:r>
              <a:rPr lang="en-US" dirty="0">
                <a:latin typeface="+mn-lt"/>
              </a:rPr>
              <a:t>;</a:t>
            </a:r>
          </a:p>
          <a:p>
            <a:r>
              <a:rPr lang="en-US" dirty="0">
                <a:latin typeface="+mn-lt"/>
              </a:rPr>
              <a:t>}</a:t>
            </a:r>
            <a:endParaRPr lang="en-US" dirty="0">
              <a:effectLst/>
              <a:latin typeface="+mn-l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b="1" dirty="0"/>
              <a:t>Raw pointer problems</a:t>
            </a:r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879190889"/>
      </p:ext>
    </p:extLst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7751" y="1000061"/>
            <a:ext cx="8217320" cy="350017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b="1" dirty="0">
                <a:latin typeface="+mn-lt"/>
              </a:rPr>
              <a:t>Resource Acquisition Is Initialization (RAII) </a:t>
            </a:r>
            <a:r>
              <a:rPr lang="en-US" dirty="0">
                <a:latin typeface="+mn-lt"/>
              </a:rPr>
              <a:t>-</a:t>
            </a:r>
            <a:r>
              <a:rPr lang="en-US" b="1" dirty="0">
                <a:latin typeface="+mn-lt"/>
              </a:rPr>
              <a:t> </a:t>
            </a:r>
            <a:r>
              <a:rPr lang="en-US" dirty="0">
                <a:latin typeface="+mn-lt"/>
              </a:rPr>
              <a:t>is a C++ programming technique which binds the life cycle of a resource (allocated memory, thread of execution, open socket, open file, locked </a:t>
            </a:r>
            <a:r>
              <a:rPr lang="en-US" dirty="0" err="1">
                <a:latin typeface="+mn-lt"/>
              </a:rPr>
              <a:t>mutex</a:t>
            </a:r>
            <a:r>
              <a:rPr lang="en-US" dirty="0">
                <a:latin typeface="+mn-lt"/>
              </a:rPr>
              <a:t>, database connection—anything that exists in limited supply) to the lifetime of an object.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en-US" dirty="0">
                <a:latin typeface="+mn-lt"/>
              </a:rPr>
              <a:t>Each resource maps to particular handler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en-US" dirty="0">
                <a:latin typeface="+mn-lt"/>
              </a:rPr>
              <a:t>Acquire in c-tor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en-US" dirty="0">
                <a:latin typeface="+mn-lt"/>
              </a:rPr>
              <a:t>Release in d-tor</a:t>
            </a:r>
            <a:endParaRPr lang="en-US" b="1" dirty="0">
              <a:latin typeface="+mn-lt"/>
            </a:endParaRPr>
          </a:p>
          <a:p>
            <a:r>
              <a:rPr lang="en-US" b="1" dirty="0">
                <a:latin typeface="+mn-lt"/>
              </a:rPr>
              <a:t>Benefit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latin typeface="+mn-lt"/>
              </a:rPr>
              <a:t>Language-level guarantee of correctness (!)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latin typeface="+mn-lt"/>
              </a:rPr>
              <a:t>Shorter code (automation)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latin typeface="+mn-lt"/>
              </a:rPr>
              <a:t>Clear responsibilities</a:t>
            </a:r>
          </a:p>
          <a:p>
            <a:pPr algn="just">
              <a:spcBef>
                <a:spcPts val="0"/>
              </a:spcBef>
              <a:buClr>
                <a:srgbClr val="001135"/>
              </a:buClr>
            </a:pPr>
            <a:endParaRPr lang="en-US" sz="2000" dirty="0">
              <a:latin typeface="+mj-lt"/>
            </a:endParaRPr>
          </a:p>
        </p:txBody>
      </p:sp>
      <p:sp>
        <p:nvSpPr>
          <p:cNvPr id="7" name="Title 5"/>
          <p:cNvSpPr txBox="1">
            <a:spLocks/>
          </p:cNvSpPr>
          <p:nvPr/>
        </p:nvSpPr>
        <p:spPr bwMode="auto">
          <a:xfrm>
            <a:off x="417599" y="280988"/>
            <a:ext cx="4044397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b="1" dirty="0"/>
              <a:t>Smart Pointers</a:t>
            </a:r>
          </a:p>
        </p:txBody>
      </p:sp>
    </p:spTree>
    <p:extLst>
      <p:ext uri="{BB962C8B-B14F-4D97-AF65-F5344CB8AC3E}">
        <p14:creationId xmlns:p14="http://schemas.microsoft.com/office/powerpoint/2010/main" val="1767020452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Nokia PowerPoint Template Arial v25">
  <a:themeElements>
    <a:clrScheme name="Nokia 13.10">
      <a:dk1>
        <a:srgbClr val="124191"/>
      </a:dk1>
      <a:lt1>
        <a:srgbClr val="FFFFFF"/>
      </a:lt1>
      <a:dk2>
        <a:srgbClr val="FFFFFF"/>
      </a:dk2>
      <a:lt2>
        <a:srgbClr val="696C6F"/>
      </a:lt2>
      <a:accent1>
        <a:srgbClr val="A8BBC0"/>
      </a:accent1>
      <a:accent2>
        <a:srgbClr val="124191"/>
      </a:accent2>
      <a:accent3>
        <a:srgbClr val="00C9FF"/>
      </a:accent3>
      <a:accent4>
        <a:srgbClr val="124191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.xml><?xml version="1.0" encoding="utf-8"?>
<a:theme xmlns:a="http://schemas.openxmlformats.org/drawingml/2006/main" name="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3.xml><?xml version="1.0" encoding="utf-8"?>
<a:theme xmlns:a="http://schemas.openxmlformats.org/drawingml/2006/main" name="CORP_PPT_Temp_Pure_V31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D8D9DA"/>
        </a:solidFill>
        <a:ln w="28575" algn="ctr">
          <a:noFill/>
          <a:round/>
          <a:headEnd/>
          <a:tailEnd/>
        </a:ln>
        <a:effectLst/>
      </a:spPr>
      <a:bodyPr wrap="square" lIns="72562" tIns="36281" rIns="72562" bIns="36281"/>
      <a:lstStyle>
        <a:defPPr marL="68027" marR="0" indent="-68027" defTabSz="604684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 typeface="Arial" pitchFamily="34" charset="0"/>
          <a:buChar char="•"/>
          <a:tabLst/>
          <a:defRPr kumimoji="0" sz="1000" b="0" i="0" u="none" strike="noStrike" kern="0" cap="none" spc="0" normalizeH="0" baseline="0" noProof="0" dirty="0" err="1" smtClean="0">
            <a:ln>
              <a:noFill/>
            </a:ln>
            <a:solidFill>
              <a:srgbClr val="124191"/>
            </a:solidFill>
            <a:effectLst/>
            <a:uLnTx/>
            <a:uFillTx/>
            <a:latin typeface="Nokia Pure Text Light"/>
            <a:ea typeface="宋体" pitchFamily="2" charset="-122"/>
          </a:defRPr>
        </a:defPPr>
      </a:lst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marR="0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rgbClr val="001135"/>
          </a:buClr>
          <a:buSzTx/>
          <a:tabLst/>
          <a:defRPr sz="1400" dirty="0" smtClean="0">
            <a:solidFill>
              <a:schemeClr val="tx2"/>
            </a:solidFill>
            <a:latin typeface="+mn-lt"/>
            <a:ea typeface="Nokia Pure Text" panose="020B0503020202020204" pitchFamily="34" charset="0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13EB3C99-2858-4D2F-A434-81579CFF4845}"/>
    </a:ext>
  </a:extLst>
</a:theme>
</file>

<file path=ppt/theme/theme4.xml><?xml version="1.0" encoding="utf-8"?>
<a:theme xmlns:a="http://schemas.openxmlformats.org/drawingml/2006/main" name="Final Slide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02791CA6-8ABD-4CF1-8231-195341A502DA}"/>
    </a:ext>
  </a:extLst>
</a:theme>
</file>

<file path=ppt/theme/theme5.xml><?xml version="1.0" encoding="utf-8"?>
<a:theme xmlns:a="http://schemas.openxmlformats.org/drawingml/2006/main" name="blank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Nokia_Pure_Macro_Free_v51" id="{C604708E-A674-4B2C-AC98-8A2AEAAB84D5}" vid="{D3526DE6-1B3C-44E8-BC12-0D5F87E28AAB}"/>
    </a:ext>
  </a:extLst>
</a:theme>
</file>

<file path=ppt/theme/theme6.xml><?xml version="1.0" encoding="utf-8"?>
<a:theme xmlns:a="http://schemas.openxmlformats.org/drawingml/2006/main" name="3_PPT_Example_Newtheme_v30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>
          <a:spcBef>
            <a:spcPts val="0"/>
          </a:spcBef>
          <a:buNone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8ED24D09-FD32-4636-A74B-E0307A050BA7}"/>
    </a:ext>
  </a:extLst>
</a:theme>
</file>

<file path=ppt/theme/theme7.xml><?xml version="1.0" encoding="utf-8"?>
<a:theme xmlns:a="http://schemas.openxmlformats.org/drawingml/2006/main" name="1_Nokia Master Blue Background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2"/>
          </a:solidFill>
        </a:ln>
      </a:spPr>
      <a:bodyPr/>
      <a:lstStyle/>
      <a:style>
        <a:lnRef idx="1">
          <a:schemeClr val="accent3"/>
        </a:lnRef>
        <a:fillRef idx="0">
          <a:schemeClr val="accent3"/>
        </a:fillRef>
        <a:effectRef idx="0">
          <a:schemeClr val="accent3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9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DF2304DB-DF66-4FFA-898B-C620F0E204D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rea xmlns="2867b335-edfc-4c0d-9af5-910efa08fd08" xsi:nil="true"/>
    <Improvments xmlns="2867b335-edfc-4c0d-9af5-910efa08fd0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CA51B2843662498A18687AEFE7846F" ma:contentTypeVersion="2" ma:contentTypeDescription="Create a new document." ma:contentTypeScope="" ma:versionID="940c68cb483d2c4e5cc36e99f4a67b8e">
  <xsd:schema xmlns:xsd="http://www.w3.org/2001/XMLSchema" xmlns:xs="http://www.w3.org/2001/XMLSchema" xmlns:p="http://schemas.microsoft.com/office/2006/metadata/properties" xmlns:ns2="2867b335-edfc-4c0d-9af5-910efa08fd08" targetNamespace="http://schemas.microsoft.com/office/2006/metadata/properties" ma:root="true" ma:fieldsID="a9fe06feb6938d162774987d933016cc" ns2:_="">
    <xsd:import namespace="2867b335-edfc-4c0d-9af5-910efa08fd08"/>
    <xsd:element name="properties">
      <xsd:complexType>
        <xsd:sequence>
          <xsd:element name="documentManagement">
            <xsd:complexType>
              <xsd:all>
                <xsd:element ref="ns2:Improvments" minOccurs="0"/>
                <xsd:element ref="ns2:Are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67b335-edfc-4c0d-9af5-910efa08fd08" elementFormDefault="qualified">
    <xsd:import namespace="http://schemas.microsoft.com/office/2006/documentManagement/types"/>
    <xsd:import namespace="http://schemas.microsoft.com/office/infopath/2007/PartnerControls"/>
    <xsd:element name="Improvments" ma:index="8" nillable="true" ma:displayName="Improvments for next release" ma:internalName="Improvments">
      <xsd:simpleType>
        <xsd:restriction base="dms:Note">
          <xsd:maxLength value="255"/>
        </xsd:restriction>
      </xsd:simpleType>
    </xsd:element>
    <xsd:element name="Area" ma:index="9" nillable="true" ma:displayName="Area" ma:internalName="Area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1ED75C7-9F73-4DE4-A041-0D8B5ED316A0}">
  <ds:schemaRefs>
    <ds:schemaRef ds:uri="http://schemas.microsoft.com/office/2006/documentManagement/types"/>
    <ds:schemaRef ds:uri="http://schemas.microsoft.com/office/2006/metadata/properties"/>
    <ds:schemaRef ds:uri="2867b335-edfc-4c0d-9af5-910efa08fd08"/>
    <ds:schemaRef ds:uri="http://schemas.openxmlformats.org/package/2006/metadata/core-properties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39ABE08-4ECD-461D-BB48-199068739F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B0A7D88-A4BC-4B7D-B6E8-28C40CC42D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867b335-edfc-4c0d-9af5-910efa08fd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kia PowerPoint Template Arial v25</Template>
  <TotalTime>0</TotalTime>
  <Words>291</Words>
  <Application>Microsoft Office PowerPoint</Application>
  <PresentationFormat>On-screen Show (16:9)</PresentationFormat>
  <Paragraphs>111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2" baseType="lpstr">
      <vt:lpstr>Arial Unicode MS</vt:lpstr>
      <vt:lpstr>ＭＳ Ｐゴシック</vt:lpstr>
      <vt:lpstr>Arial</vt:lpstr>
      <vt:lpstr>Calibri</vt:lpstr>
      <vt:lpstr>Lucida Grande</vt:lpstr>
      <vt:lpstr>Nokia Pure Headline</vt:lpstr>
      <vt:lpstr>Nokia Pure Headline Light</vt:lpstr>
      <vt:lpstr>Nokia Pure Headline Ultra Light</vt:lpstr>
      <vt:lpstr>Nokia Pure Text</vt:lpstr>
      <vt:lpstr>Nokia Pure Text Light</vt:lpstr>
      <vt:lpstr>Wingdings</vt:lpstr>
      <vt:lpstr>ヒラギノ角ゴ Pro W3</vt:lpstr>
      <vt:lpstr>Nokia PowerPoint Template Arial v25</vt:lpstr>
      <vt:lpstr>Nokia Master Blue Background</vt:lpstr>
      <vt:lpstr>CORP_PPT_Temp_Pure_V31</vt:lpstr>
      <vt:lpstr>Final Slide</vt:lpstr>
      <vt:lpstr>blank</vt:lpstr>
      <vt:lpstr>3_PPT_Example_Newtheme_v30</vt:lpstr>
      <vt:lpstr>1_Nokia Master Blue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5-26T09:55:58Z</dcterms:created>
  <dcterms:modified xsi:type="dcterms:W3CDTF">2017-05-09T21:1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ContentTypeId">
    <vt:lpwstr>0x0101009ECA51B2843662498A18687AEFE7846F</vt:lpwstr>
  </property>
  <property fmtid="{D5CDD505-2E9C-101B-9397-08002B2CF9AE}" pid="4" name="_NewReviewCycle">
    <vt:lpwstr/>
  </property>
</Properties>
</file>